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84" r:id="rId1"/>
    <p:sldMasterId id="2147484231" r:id="rId2"/>
    <p:sldMasterId id="2147484493" r:id="rId3"/>
    <p:sldMasterId id="2147484698" r:id="rId4"/>
    <p:sldMasterId id="2147484713" r:id="rId5"/>
    <p:sldMasterId id="2147484731" r:id="rId6"/>
    <p:sldMasterId id="2147484748" r:id="rId7"/>
  </p:sldMasterIdLst>
  <p:notesMasterIdLst>
    <p:notesMasterId r:id="rId16"/>
  </p:notesMasterIdLst>
  <p:handoutMasterIdLst>
    <p:handoutMasterId r:id="rId17"/>
  </p:handoutMasterIdLst>
  <p:sldIdLst>
    <p:sldId id="2002" r:id="rId8"/>
    <p:sldId id="2028" r:id="rId9"/>
    <p:sldId id="2012" r:id="rId10"/>
    <p:sldId id="1990" r:id="rId11"/>
    <p:sldId id="2027" r:id="rId12"/>
    <p:sldId id="2017" r:id="rId13"/>
    <p:sldId id="1980" r:id="rId14"/>
    <p:sldId id="2026" r:id="rId15"/>
  </p:sldIdLst>
  <p:sldSz cx="9906000" cy="6858000" type="A4"/>
  <p:notesSz cx="9874250" cy="6797675"/>
  <p:custDataLst>
    <p:tags r:id="rId18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960C"/>
    <a:srgbClr val="426673"/>
    <a:srgbClr val="FF0000"/>
    <a:srgbClr val="00B050"/>
    <a:srgbClr val="A1BEC9"/>
    <a:srgbClr val="FFC000"/>
    <a:srgbClr val="C8B9AC"/>
    <a:srgbClr val="D6CBC2"/>
    <a:srgbClr val="000000"/>
    <a:srgbClr val="B29D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23" autoAdjust="0"/>
    <p:restoredTop sz="81007" autoAdjust="0"/>
  </p:normalViewPr>
  <p:slideViewPr>
    <p:cSldViewPr snapToGrid="0" showGuides="1">
      <p:cViewPr>
        <p:scale>
          <a:sx n="100" d="100"/>
          <a:sy n="100" d="100"/>
        </p:scale>
        <p:origin x="-1116" y="-72"/>
      </p:cViewPr>
      <p:guideLst>
        <p:guide orient="horz" pos="3991"/>
        <p:guide orient="horz" pos="1069"/>
        <p:guide pos="450"/>
        <p:guide pos="584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685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5856538998833229E-2"/>
          <c:y val="9.9127053562749104E-2"/>
          <c:w val="0.77448304344588048"/>
          <c:h val="0.81250732547320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vol Assis Scalo FCO 2012-2017'!$A$4</c:f>
              <c:strCache>
                <c:ptCount val="1"/>
                <c:pt idx="0">
                  <c:v>Assistenze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solidFill>
                <a:schemeClr val="accent1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2.84069232859615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2.3054755043227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vol Assis Scalo FCO 2012-2017'!$B$2:$G$2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 (F8+4)</c:v>
                </c:pt>
              </c:strCache>
            </c:strRef>
          </c:cat>
          <c:val>
            <c:numRef>
              <c:f>'Evol Assis Scalo FCO 2012-2017'!$B$4:$G$4</c:f>
              <c:numCache>
                <c:formatCode>#,##0</c:formatCode>
                <c:ptCount val="6"/>
                <c:pt idx="0">
                  <c:v>285795</c:v>
                </c:pt>
                <c:pt idx="1">
                  <c:v>296300</c:v>
                </c:pt>
                <c:pt idx="2">
                  <c:v>287207</c:v>
                </c:pt>
                <c:pt idx="3">
                  <c:v>303148</c:v>
                </c:pt>
                <c:pt idx="4">
                  <c:v>321940</c:v>
                </c:pt>
                <c:pt idx="5">
                  <c:v>3215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515264"/>
        <c:axId val="103516800"/>
      </c:barChart>
      <c:lineChart>
        <c:grouping val="standard"/>
        <c:varyColors val="0"/>
        <c:ser>
          <c:idx val="1"/>
          <c:order val="1"/>
          <c:tx>
            <c:strRef>
              <c:f>'Evol Assis Scalo FCO 2012-2017'!$A$5</c:f>
              <c:strCache>
                <c:ptCount val="1"/>
                <c:pt idx="0">
                  <c:v>Indice PRM/1000 Pax (*)</c:v>
                </c:pt>
              </c:strCache>
            </c:strRef>
          </c:tx>
          <c:spPr>
            <a:ln>
              <a:solidFill>
                <a:schemeClr val="accent6">
                  <a:lumMod val="75000"/>
                </a:schemeClr>
              </a:solidFill>
            </a:ln>
          </c:spPr>
          <c:dLbls>
            <c:dLbl>
              <c:idx val="0"/>
              <c:layout>
                <c:manualLayout>
                  <c:x val="-2.0668035632506538E-2"/>
                  <c:y val="-4.76065563850628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0728211037410193E-2"/>
                  <c:y val="-4.86748810577352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5923633373220468E-2"/>
                  <c:y val="4.96279319551914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1323464960876139E-2"/>
                  <c:y val="4.9846982383686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9736055507132904E-2"/>
                  <c:y val="-5.7846558805509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1780541972591137E-2"/>
                  <c:y val="-5.95532763015574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vol Assis Scalo FCO 2012-2017'!$B$2:$G$2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 (F8+4)</c:v>
                </c:pt>
              </c:strCache>
            </c:strRef>
          </c:cat>
          <c:val>
            <c:numRef>
              <c:f>'Evol Assis Scalo FCO 2012-2017'!$B$5:$G$5</c:f>
              <c:numCache>
                <c:formatCode>0.0</c:formatCode>
                <c:ptCount val="6"/>
                <c:pt idx="0">
                  <c:v>7.7110595472573724</c:v>
                </c:pt>
                <c:pt idx="1">
                  <c:v>8.1698166001629442</c:v>
                </c:pt>
                <c:pt idx="2">
                  <c:v>7.4360631313622321</c:v>
                </c:pt>
                <c:pt idx="3">
                  <c:v>7.4919418153894268</c:v>
                </c:pt>
                <c:pt idx="4">
                  <c:v>7.7121040003838566</c:v>
                </c:pt>
                <c:pt idx="5">
                  <c:v>7.78032511611082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8200320"/>
        <c:axId val="108201856"/>
      </c:lineChart>
      <c:catAx>
        <c:axId val="10351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103516800"/>
        <c:crosses val="autoZero"/>
        <c:auto val="1"/>
        <c:lblAlgn val="ctr"/>
        <c:lblOffset val="100"/>
        <c:noMultiLvlLbl val="0"/>
      </c:catAx>
      <c:valAx>
        <c:axId val="103516800"/>
        <c:scaling>
          <c:orientation val="minMax"/>
          <c:max val="325000"/>
          <c:min val="245000"/>
        </c:scaling>
        <c:delete val="0"/>
        <c:axPos val="l"/>
        <c:numFmt formatCode="#,##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103515264"/>
        <c:crosses val="autoZero"/>
        <c:crossBetween val="between"/>
      </c:valAx>
      <c:catAx>
        <c:axId val="1082003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8201856"/>
        <c:crosses val="autoZero"/>
        <c:auto val="1"/>
        <c:lblAlgn val="ctr"/>
        <c:lblOffset val="100"/>
        <c:noMultiLvlLbl val="0"/>
      </c:catAx>
      <c:valAx>
        <c:axId val="108201856"/>
        <c:scaling>
          <c:orientation val="minMax"/>
          <c:max val="10"/>
          <c:min val="0"/>
        </c:scaling>
        <c:delete val="0"/>
        <c:axPos val="r"/>
        <c:numFmt formatCode="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108200320"/>
        <c:crosses val="max"/>
        <c:crossBetween val="between"/>
        <c:majorUnit val="1"/>
        <c:minorUnit val="1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it-IT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3113</cdr:x>
      <cdr:y>0.11268</cdr:y>
    </cdr:from>
    <cdr:to>
      <cdr:x>0.6724</cdr:x>
      <cdr:y>0.1784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6991349" y="342900"/>
          <a:ext cx="457200" cy="2000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it-IT"/>
        </a:p>
      </cdr:txBody>
    </cdr:sp>
  </cdr:relSizeAnchor>
  <cdr:relSizeAnchor xmlns:cdr="http://schemas.openxmlformats.org/drawingml/2006/chartDrawing">
    <cdr:from>
      <cdr:x>0.61422</cdr:x>
      <cdr:y>0.09251</cdr:y>
    </cdr:from>
    <cdr:to>
      <cdr:x>0.67498</cdr:x>
      <cdr:y>0.16023</cdr:y>
    </cdr:to>
    <cdr:sp macro="" textlink="">
      <cdr:nvSpPr>
        <cdr:cNvPr id="4" name="CasellaDiTesto 1"/>
        <cdr:cNvSpPr txBox="1"/>
      </cdr:nvSpPr>
      <cdr:spPr>
        <a:xfrm xmlns:a="http://schemas.openxmlformats.org/drawingml/2006/main">
          <a:off x="6804024" y="307975"/>
          <a:ext cx="673099" cy="2254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it-IT"/>
        </a:p>
      </cdr:txBody>
    </cdr:sp>
  </cdr:relSizeAnchor>
  <cdr:relSizeAnchor xmlns:cdr="http://schemas.openxmlformats.org/drawingml/2006/chartDrawing">
    <cdr:from>
      <cdr:x>0.74321</cdr:x>
      <cdr:y>0.0432</cdr:y>
    </cdr:from>
    <cdr:to>
      <cdr:x>0.78448</cdr:x>
      <cdr:y>0.10892</cdr:y>
    </cdr:to>
    <cdr:sp macro="" textlink="">
      <cdr:nvSpPr>
        <cdr:cNvPr id="3" name="CasellaDiTesto 1"/>
        <cdr:cNvSpPr txBox="1"/>
      </cdr:nvSpPr>
      <cdr:spPr>
        <a:xfrm xmlns:a="http://schemas.openxmlformats.org/drawingml/2006/main">
          <a:off x="8969137" y="165831"/>
          <a:ext cx="498054" cy="2522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it-IT"/>
        </a:p>
      </cdr:txBody>
    </cdr:sp>
  </cdr:relSizeAnchor>
  <cdr:relSizeAnchor xmlns:cdr="http://schemas.openxmlformats.org/drawingml/2006/chartDrawing">
    <cdr:from>
      <cdr:x>0.61422</cdr:x>
      <cdr:y>0.09251</cdr:y>
    </cdr:from>
    <cdr:to>
      <cdr:x>0.67498</cdr:x>
      <cdr:y>0.16023</cdr:y>
    </cdr:to>
    <cdr:sp macro="" textlink="">
      <cdr:nvSpPr>
        <cdr:cNvPr id="5" name="CasellaDiTesto 1"/>
        <cdr:cNvSpPr txBox="1"/>
      </cdr:nvSpPr>
      <cdr:spPr>
        <a:xfrm xmlns:a="http://schemas.openxmlformats.org/drawingml/2006/main">
          <a:off x="6804024" y="307975"/>
          <a:ext cx="673099" cy="2254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8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l" defTabSz="917575">
              <a:spcBef>
                <a:spcPct val="0"/>
              </a:spcBef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69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4351" y="8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r" defTabSz="917575">
              <a:spcBef>
                <a:spcPct val="0"/>
              </a:spcBef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5" y="6419866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l" defTabSz="917575">
              <a:spcBef>
                <a:spcPct val="0"/>
              </a:spcBef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4351" y="6419866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r" defTabSz="917575">
              <a:spcBef>
                <a:spcPct val="0"/>
              </a:spcBef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DE0BC23-0D95-42A2-9803-CB7A22C31CDC}" type="slidenum">
              <a:rPr lang="en-GB"/>
              <a:pPr>
                <a:defRPr/>
              </a:pPr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5521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8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l" defTabSz="917575">
              <a:spcBef>
                <a:spcPct val="0"/>
              </a:spcBef>
              <a:defRPr sz="1200" b="0">
                <a:latin typeface="Times New Roman" pitchFamily="18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4351" y="8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r" defTabSz="917575">
              <a:spcBef>
                <a:spcPct val="0"/>
              </a:spcBef>
              <a:defRPr sz="1200" b="0">
                <a:latin typeface="Times New Roman" pitchFamily="18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91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82925" y="528638"/>
            <a:ext cx="3709988" cy="256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16047" y="3248037"/>
            <a:ext cx="7242175" cy="302101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Click to edit Master text styles</a:t>
            </a:r>
          </a:p>
          <a:p>
            <a:pPr lvl="1"/>
            <a:r>
              <a:rPr lang="de-DE" noProof="0" smtClean="0"/>
              <a:t>Second level</a:t>
            </a:r>
          </a:p>
          <a:p>
            <a:pPr lvl="2"/>
            <a:r>
              <a:rPr lang="de-DE" noProof="0" smtClean="0"/>
              <a:t>Third level</a:t>
            </a:r>
          </a:p>
          <a:p>
            <a:pPr lvl="3"/>
            <a:r>
              <a:rPr lang="de-DE" noProof="0" smtClean="0"/>
              <a:t>Fourth level</a:t>
            </a:r>
          </a:p>
          <a:p>
            <a:pPr lvl="4"/>
            <a:r>
              <a:rPr lang="de-DE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6419866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l" defTabSz="917575">
              <a:spcBef>
                <a:spcPct val="0"/>
              </a:spcBef>
              <a:defRPr sz="1200" b="0">
                <a:latin typeface="Times New Roman" pitchFamily="18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4351" y="6419866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r" defTabSz="917575">
              <a:spcBef>
                <a:spcPct val="0"/>
              </a:spcBef>
              <a:defRPr sz="1200" b="0">
                <a:latin typeface="Times New Roman" pitchFamily="18" charset="0"/>
                <a:cs typeface="Arial" pitchFamily="34" charset="0"/>
              </a:defRPr>
            </a:lvl1pPr>
          </a:lstStyle>
          <a:p>
            <a:pPr>
              <a:defRPr/>
            </a:pPr>
            <a:fld id="{86EF5532-5135-40AE-80C6-1B7A7313BC20}" type="slidenum">
              <a:rPr lang="de-DE"/>
              <a:pPr>
                <a:defRPr/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08733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952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22399A-D852-48B0-9041-54A68C2D350D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479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8.jpg"/><Relationship Id="rId5" Type="http://schemas.openxmlformats.org/officeDocument/2006/relationships/slideMaster" Target="../slideMasters/slideMaster7.xml"/><Relationship Id="rId10" Type="http://schemas.openxmlformats.org/officeDocument/2006/relationships/oleObject" Target="../embeddings/oleObject8.bin"/><Relationship Id="rId4" Type="http://schemas.openxmlformats.org/officeDocument/2006/relationships/tags" Target="../tags/tag9.xml"/><Relationship Id="rId9" Type="http://schemas.openxmlformats.org/officeDocument/2006/relationships/image" Target="../media/image7.emf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8.jpg"/><Relationship Id="rId5" Type="http://schemas.openxmlformats.org/officeDocument/2006/relationships/slideMaster" Target="../slideMasters/slideMaster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2.xml"/><Relationship Id="rId9" Type="http://schemas.openxmlformats.org/officeDocument/2006/relationships/image" Target="../media/image7.emf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7.emf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47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218B63-78A7-49A5-86C7-6B8981C8C31B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32460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48ACC-D7EC-49AF-B0D6-E4E150BA7358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46896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81850" y="358869"/>
            <a:ext cx="2228850" cy="559117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95308" y="358869"/>
            <a:ext cx="6534150" cy="559117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140E0C-8C01-4BA4-955E-0E7557B8DE16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88063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47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251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7780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702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197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95303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199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6386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257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5066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0730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6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847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44AD1-B605-4536-BDD0-B5D04A4A4719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65255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5237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8829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81850" y="358869"/>
            <a:ext cx="2228850" cy="559117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95308" y="358869"/>
            <a:ext cx="6534150" cy="559117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395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47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8DE5D37-A380-4CA9-B48F-8BFFE0D547D0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6656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06DC9E7-52B1-4B28-AFBD-6ADF0D6317FD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2061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702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462025-A161-4022-9205-0A6F1F756926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5700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95303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199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43D6A99-37ED-483F-9C86-4E89C8BBF69B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996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E817E4-1E8D-47AD-9E27-26B4742256FA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9266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F0E347-B386-4FBE-B0A8-FA441D2E4C29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2341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F964B8-4548-4DC4-BAE5-04857F54C115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0309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702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2CA978-CA93-4237-AEE8-3BE289477731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5342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6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FB128A1-69B1-4A0E-B87F-FD0F705D0F00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2975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3C11B4-0FE2-4110-9BFB-1662DC6323FD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8246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152F5F6-6BCD-4DCE-A47E-295F572E4985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658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367654" y="189008"/>
            <a:ext cx="2289175" cy="576103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95303" y="189008"/>
            <a:ext cx="6719889" cy="576103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F597F1D-07C8-4FD0-ABE6-BA3E9AD6289E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626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27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30019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94456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33424" y="1933670"/>
            <a:ext cx="8535989" cy="1370247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25528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7002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552744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974981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940036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70165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95303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199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277692-4209-4825-B813-0851953C30D1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757910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4665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6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202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022556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579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7754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670"/>
            <a:ext cx="5505866" cy="11271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096609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75469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6728479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733424" y="1001807"/>
            <a:ext cx="8535989" cy="1370247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70912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olo, contenuto e 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669"/>
            <a:ext cx="4191000" cy="1613519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5076825" y="1933669"/>
            <a:ext cx="4192588" cy="1613519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5076825" y="2573439"/>
            <a:ext cx="4192588" cy="1613519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403644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27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91749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33424" y="1933670"/>
            <a:ext cx="8535989" cy="1370247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8633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0A243E-4021-4261-A910-01B10F24EEDF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520743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7002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96719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928887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73762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416654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866757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6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202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50240255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579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297941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670"/>
            <a:ext cx="5505866" cy="11271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13402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39676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38024890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0262F7-031F-49E6-A65C-C3D353B16B43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037463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13502758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70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80039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70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245078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70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712211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27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7294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33424" y="1933670"/>
            <a:ext cx="8535989" cy="1370247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59129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7002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04837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9747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13197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20859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4F78F-C574-4383-8756-98938AE3C4ED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253600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6442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6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202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68935054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579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154392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670"/>
            <a:ext cx="5505866" cy="11271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6095218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409838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10325989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816387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70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044707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70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96100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70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344737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6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5A48DF-899E-42A7-BDB2-20A32D8E9202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416688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2346667"/>
              </p:ext>
            </p:extLst>
          </p:nvPr>
        </p:nvGraphicFramePr>
        <p:xfrm>
          <a:off x="0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84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 noChangeArrowheads="1"/>
          </p:cNvSpPr>
          <p:nvPr/>
        </p:nvSpPr>
        <p:spPr bwMode="auto">
          <a:xfrm>
            <a:off x="9384904" y="6718301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372884F-47F7-4D53-8078-75472CAAA155}" type="slidenum">
              <a:rPr lang="en-US">
                <a:solidFill>
                  <a:srgbClr val="000000"/>
                </a:solidFill>
                <a:latin typeface="Arial"/>
                <a:cs typeface="+mn-cs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Slide Number Line"/>
          <p:cNvSpPr>
            <a:spLocks noChangeShapeType="1"/>
          </p:cNvSpPr>
          <p:nvPr/>
        </p:nvSpPr>
        <p:spPr bwMode="auto">
          <a:xfrm>
            <a:off x="9269677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" name="Header Line"/>
          <p:cNvSpPr>
            <a:spLocks noChangeShapeType="1"/>
          </p:cNvSpPr>
          <p:nvPr/>
        </p:nvSpPr>
        <p:spPr bwMode="auto">
          <a:xfrm>
            <a:off x="0" y="765175"/>
            <a:ext cx="9907720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  <a:latin typeface="Arial"/>
              <a:cs typeface="+mn-cs"/>
            </a:endParaRPr>
          </a:p>
        </p:txBody>
      </p:sp>
      <p:graphicFrame>
        <p:nvGraphicFramePr>
          <p:cNvPr id="9" name="Oggetto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85" name="Diapositiva think-cell" r:id="rId8" imgW="270" imgH="270" progId="TCLayout.ActiveDocument.1">
                  <p:embed/>
                </p:oleObj>
              </mc:Choice>
              <mc:Fallback>
                <p:oleObj name="Diapositiva think-cell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443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graphicFrame>
        <p:nvGraphicFramePr>
          <p:cNvPr id="10" name="Oggetto 9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2109579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86" name="Diapositiva think-cell" r:id="rId10" imgW="270" imgH="270" progId="TCLayout.ActiveDocument.1">
                  <p:embed/>
                </p:oleObj>
              </mc:Choice>
              <mc:Fallback>
                <p:oleObj name="Diapositiva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2" descr="Logo ADR Assistance DEF"/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4300" y="71129"/>
            <a:ext cx="762000" cy="6667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5164837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828657"/>
              </p:ext>
            </p:extLst>
          </p:nvPr>
        </p:nvGraphicFramePr>
        <p:xfrm>
          <a:off x="0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108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/>
          <p:cNvSpPr txBox="1">
            <a:spLocks noChangeArrowheads="1"/>
          </p:cNvSpPr>
          <p:nvPr/>
        </p:nvSpPr>
        <p:spPr bwMode="auto">
          <a:xfrm>
            <a:off x="9384904" y="6718301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622EC6F-992B-47DB-9472-B631B9F33BF4}" type="slidenum">
              <a:rPr lang="en-US">
                <a:solidFill>
                  <a:srgbClr val="000000"/>
                </a:solidFill>
                <a:latin typeface="Arial"/>
                <a:cs typeface="+mn-cs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Slide Number Line"/>
          <p:cNvSpPr>
            <a:spLocks noChangeShapeType="1"/>
          </p:cNvSpPr>
          <p:nvPr/>
        </p:nvSpPr>
        <p:spPr bwMode="auto">
          <a:xfrm>
            <a:off x="9269677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" name="Header Line"/>
          <p:cNvSpPr>
            <a:spLocks noChangeShapeType="1"/>
          </p:cNvSpPr>
          <p:nvPr/>
        </p:nvSpPr>
        <p:spPr bwMode="auto">
          <a:xfrm>
            <a:off x="0" y="765175"/>
            <a:ext cx="9907720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  <a:latin typeface="Arial"/>
              <a:cs typeface="+mn-cs"/>
            </a:endParaRPr>
          </a:p>
        </p:txBody>
      </p:sp>
      <p:graphicFrame>
        <p:nvGraphicFramePr>
          <p:cNvPr id="9" name="Oggetto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109" name="Diapositiva think-cell" r:id="rId8" imgW="270" imgH="270" progId="TCLayout.ActiveDocument.1">
                  <p:embed/>
                </p:oleObj>
              </mc:Choice>
              <mc:Fallback>
                <p:oleObj name="Diapositiva think-cell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797311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33424" y="1933584"/>
            <a:ext cx="8535989" cy="1370247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graphicFrame>
        <p:nvGraphicFramePr>
          <p:cNvPr id="10" name="Oggetto 9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53683199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110" name="Diapositiva think-cell" r:id="rId10" imgW="270" imgH="270" progId="TCLayout.ActiveDocument.1">
                  <p:embed/>
                </p:oleObj>
              </mc:Choice>
              <mc:Fallback>
                <p:oleObj name="Diapositiva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2" descr="Logo ADR Assistance DEF"/>
          <p:cNvPicPr/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4300" y="71129"/>
            <a:ext cx="762000" cy="6667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66692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18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12776750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302957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385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385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5416749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328957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708079"/>
              </p:ext>
            </p:extLst>
          </p:nvPr>
        </p:nvGraphicFramePr>
        <p:xfrm>
          <a:off x="0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102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 noChangeArrowheads="1"/>
          </p:cNvSpPr>
          <p:nvPr/>
        </p:nvSpPr>
        <p:spPr bwMode="auto">
          <a:xfrm>
            <a:off x="9384904" y="6718301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30289613-213A-4558-9875-79A56BBDA63F}" type="slidenum">
              <a:rPr lang="en-US">
                <a:solidFill>
                  <a:srgbClr val="000000"/>
                </a:solidFill>
                <a:latin typeface="Arial"/>
                <a:cs typeface="+mn-cs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Slide Number Line"/>
          <p:cNvSpPr>
            <a:spLocks noChangeShapeType="1"/>
          </p:cNvSpPr>
          <p:nvPr/>
        </p:nvSpPr>
        <p:spPr bwMode="auto">
          <a:xfrm>
            <a:off x="9269677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" name="Header Line"/>
          <p:cNvSpPr>
            <a:spLocks noChangeShapeType="1"/>
          </p:cNvSpPr>
          <p:nvPr/>
        </p:nvSpPr>
        <p:spPr bwMode="auto">
          <a:xfrm>
            <a:off x="0" y="765175"/>
            <a:ext cx="9907720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6" name="Picture 7" descr="ADR_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5512" y="188913"/>
            <a:ext cx="146354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ggetto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103" name="Diapositiva think-cell" r:id="rId8" imgW="270" imgH="270" progId="TCLayout.ActiveDocument.1">
                  <p:embed/>
                </p:oleObj>
              </mc:Choice>
              <mc:Fallback>
                <p:oleObj name="Diapositiva think-cell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808542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4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062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4" y="1435118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5534042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579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45088163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584"/>
            <a:ext cx="5505866" cy="11271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866405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16EC42-B4A9-48D1-BF90-B265D27DF59D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318491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094663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88534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5743615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733431" y="1933583"/>
            <a:ext cx="4191000" cy="1613519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83"/>
            <a:ext cx="4192588" cy="1613519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357074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117754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096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 7"/>
          <p:cNvSpPr>
            <a:spLocks noGrp="1"/>
          </p:cNvSpPr>
          <p:nvPr>
            <p:ph type="sldNum" sz="quarter" idx="10"/>
          </p:nvPr>
        </p:nvSpPr>
        <p:spPr>
          <a:xfrm>
            <a:off x="9427899" y="6562725"/>
            <a:ext cx="478102" cy="179388"/>
          </a:xfrm>
          <a:prstGeom prst="rect">
            <a:avLst/>
          </a:prstGeom>
        </p:spPr>
        <p:txBody>
          <a:bodyPr/>
          <a:lstStyle>
            <a:lvl1pPr algn="l" eaLnBrk="0" hangingPunct="0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698BAE7-23DE-4495-AAD8-176DB6C92E95}" type="slidenum">
              <a:rPr lang="it-IT" sz="1800" b="0" smtClean="0">
                <a:solidFill>
                  <a:srgbClr val="000000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sz="1800" b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2272796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371963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20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36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35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50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57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66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image" Target="../media/image6.jpeg"/><Relationship Id="rId10" Type="http://schemas.openxmlformats.org/officeDocument/2006/relationships/slideLayout" Target="../slideLayouts/slideLayout73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theme" Target="../theme/theme7.xml"/><Relationship Id="rId26" Type="http://schemas.openxmlformats.org/officeDocument/2006/relationships/image" Target="../media/image8.jpg"/><Relationship Id="rId3" Type="http://schemas.openxmlformats.org/officeDocument/2006/relationships/slideLayout" Target="../slideLayouts/slideLayout82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89.xml"/><Relationship Id="rId19" Type="http://schemas.openxmlformats.org/officeDocument/2006/relationships/vmlDrawing" Target="../drawings/vmlDrawing4.v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ADR_log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476250"/>
            <a:ext cx="1806575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358869"/>
            <a:ext cx="89154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34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301941" y="3716338"/>
            <a:ext cx="8424863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2500"/>
              </a:lnSpc>
              <a:spcBef>
                <a:spcPct val="0"/>
              </a:spcBef>
              <a:defRPr sz="16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D30DAA9A-6619-4034-B08F-EFF58E914A4A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358869"/>
            <a:ext cx="89154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34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301941" y="3716338"/>
            <a:ext cx="8424863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2500"/>
              </a:lnSpc>
              <a:spcBef>
                <a:spcPct val="0"/>
              </a:spcBef>
              <a:defRPr sz="1600" b="0" dirty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874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3" r:id="rId2"/>
    <p:sldLayoutId id="2147484234" r:id="rId3"/>
    <p:sldLayoutId id="2147484235" r:id="rId4"/>
    <p:sldLayoutId id="2147484236" r:id="rId5"/>
    <p:sldLayoutId id="2147484237" r:id="rId6"/>
    <p:sldLayoutId id="2147484238" r:id="rId7"/>
    <p:sldLayoutId id="2147484239" r:id="rId8"/>
    <p:sldLayoutId id="2147484240" r:id="rId9"/>
    <p:sldLayoutId id="2147484241" r:id="rId10"/>
    <p:sldLayoutId id="2147484242" r:id="rId11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10"/>
          <p:cNvSpPr>
            <a:spLocks noChangeArrowheads="1"/>
          </p:cNvSpPr>
          <p:nvPr/>
        </p:nvSpPr>
        <p:spPr bwMode="auto">
          <a:xfrm>
            <a:off x="0" y="6265985"/>
            <a:ext cx="9906000" cy="619125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it-IT" sz="1600" b="0" dirty="0" smtClean="0">
              <a:solidFill>
                <a:srgbClr val="000000"/>
              </a:solidFill>
            </a:endParaRPr>
          </a:p>
        </p:txBody>
      </p:sp>
      <p:pic>
        <p:nvPicPr>
          <p:cNvPr id="109571" name="Picture 11" descr="ADR_followus_nero_bi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0825" y="6389688"/>
            <a:ext cx="309563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9572" name="Rectangle 9"/>
          <p:cNvSpPr>
            <a:spLocks noChangeArrowheads="1"/>
          </p:cNvSpPr>
          <p:nvPr/>
        </p:nvSpPr>
        <p:spPr bwMode="auto">
          <a:xfrm>
            <a:off x="0" y="94"/>
            <a:ext cx="9906000" cy="796925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it-IT" sz="1600" b="0" dirty="0" smtClean="0">
              <a:solidFill>
                <a:srgbClr val="000000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1363" y="188913"/>
            <a:ext cx="89154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34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93250" y="6511925"/>
            <a:ext cx="350838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700">
                <a:solidFill>
                  <a:schemeClr val="accent2"/>
                </a:solidFill>
                <a:ea typeface="+mn-ea"/>
              </a:defRPr>
            </a:lvl1pPr>
          </a:lstStyle>
          <a:p>
            <a:fld id="{5259509E-B038-4301-A7F2-8802FDB4E066}" type="slidenum">
              <a:rPr lang="it-IT" smtClean="0">
                <a:solidFill>
                  <a:srgbClr val="333399"/>
                </a:solidFill>
              </a:rPr>
              <a:pPr/>
              <a:t>‹N›</a:t>
            </a:fld>
            <a:endParaRPr lang="it-IT" dirty="0" smtClean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555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4" r:id="rId1"/>
    <p:sldLayoutId id="2147484495" r:id="rId2"/>
    <p:sldLayoutId id="2147484496" r:id="rId3"/>
    <p:sldLayoutId id="2147484497" r:id="rId4"/>
    <p:sldLayoutId id="2147484498" r:id="rId5"/>
    <p:sldLayoutId id="2147484499" r:id="rId6"/>
    <p:sldLayoutId id="2147484500" r:id="rId7"/>
    <p:sldLayoutId id="2147484501" r:id="rId8"/>
    <p:sldLayoutId id="2147484502" r:id="rId9"/>
    <p:sldLayoutId id="2147484503" r:id="rId10"/>
    <p:sldLayoutId id="2147484504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342900" indent="-3429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240245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520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en-US" sz="1600" b="0" dirty="0">
              <a:solidFill>
                <a:srgbClr val="000000"/>
              </a:solidFill>
            </a:endParaRPr>
          </a:p>
        </p:txBody>
      </p:sp>
      <p:sp>
        <p:nvSpPr>
          <p:cNvPr id="3076" name="Title Placeholder 1"/>
          <p:cNvSpPr>
            <a:spLocks noGrp="1"/>
          </p:cNvSpPr>
          <p:nvPr>
            <p:ph type="title"/>
          </p:nvPr>
        </p:nvSpPr>
        <p:spPr bwMode="auto">
          <a:xfrm>
            <a:off x="733424" y="1001713"/>
            <a:ext cx="8535989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3424" y="1933670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402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>
              <a:defRPr/>
            </a:pPr>
            <a:fld id="{08AB55FF-16C2-4874-B035-5D230198F9E8}" type="slidenum">
              <a:rPr lang="en-US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79" name="Slide Number Line"/>
          <p:cNvSpPr>
            <a:spLocks noChangeShapeType="1"/>
          </p:cNvSpPr>
          <p:nvPr/>
        </p:nvSpPr>
        <p:spPr bwMode="auto">
          <a:xfrm>
            <a:off x="9269413" y="6734277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080" name="Header Line"/>
          <p:cNvSpPr>
            <a:spLocks noChangeShapeType="1"/>
          </p:cNvSpPr>
          <p:nvPr/>
        </p:nvSpPr>
        <p:spPr bwMode="auto">
          <a:xfrm>
            <a:off x="0" y="765175"/>
            <a:ext cx="9907588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3081" name="Picture 7" descr="ADR_logo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140" y="188913"/>
            <a:ext cx="14620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556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9" r:id="rId1"/>
    <p:sldLayoutId id="2147484700" r:id="rId2"/>
    <p:sldLayoutId id="2147484701" r:id="rId3"/>
    <p:sldLayoutId id="2147484702" r:id="rId4"/>
    <p:sldLayoutId id="2147484703" r:id="rId5"/>
    <p:sldLayoutId id="2147484704" r:id="rId6"/>
    <p:sldLayoutId id="2147484705" r:id="rId7"/>
    <p:sldLayoutId id="2147484706" r:id="rId8"/>
    <p:sldLayoutId id="2147484707" r:id="rId9"/>
    <p:sldLayoutId id="2147484708" r:id="rId10"/>
    <p:sldLayoutId id="2147484709" r:id="rId11"/>
    <p:sldLayoutId id="2147484710" r:id="rId12"/>
    <p:sldLayoutId id="2147484711" r:id="rId13"/>
    <p:sldLayoutId id="2147484712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93000"/>
        </a:lnSpc>
        <a:spcBef>
          <a:spcPts val="25"/>
        </a:spcBef>
        <a:spcAft>
          <a:spcPct val="0"/>
        </a:spcAft>
        <a:buFont typeface="Arial" pitchFamily="34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0" fontAlgn="base" hangingPunct="0">
        <a:lnSpc>
          <a:spcPct val="93000"/>
        </a:lnSpc>
        <a:spcBef>
          <a:spcPts val="1200"/>
        </a:spcBef>
        <a:spcAft>
          <a:spcPct val="0"/>
        </a:spcAft>
        <a:buFont typeface="Arial" pitchFamily="34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0" fontAlgn="base" hangingPunct="0">
        <a:lnSpc>
          <a:spcPct val="93000"/>
        </a:lnSpc>
        <a:spcBef>
          <a:spcPts val="38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3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544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en-US" sz="1600" b="0" dirty="0">
              <a:solidFill>
                <a:srgbClr val="000000"/>
              </a:solidFill>
            </a:endParaRPr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733424" y="1001713"/>
            <a:ext cx="8535989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3424" y="1933670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402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>
              <a:defRPr/>
            </a:pPr>
            <a:fld id="{E5B6F993-6AAD-4A6A-A44A-A82B7026FAC4}" type="slidenum">
              <a:rPr lang="en-US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5" name="Slide Number Line"/>
          <p:cNvSpPr>
            <a:spLocks noChangeShapeType="1"/>
          </p:cNvSpPr>
          <p:nvPr/>
        </p:nvSpPr>
        <p:spPr bwMode="auto">
          <a:xfrm>
            <a:off x="9269413" y="6734277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056" name="Header Line"/>
          <p:cNvSpPr>
            <a:spLocks noChangeShapeType="1"/>
          </p:cNvSpPr>
          <p:nvPr/>
        </p:nvSpPr>
        <p:spPr bwMode="auto">
          <a:xfrm>
            <a:off x="0" y="765175"/>
            <a:ext cx="9907588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2057" name="Picture 7" descr="ADR_logo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140" y="188913"/>
            <a:ext cx="14620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2529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4" r:id="rId1"/>
    <p:sldLayoutId id="2147484715" r:id="rId2"/>
    <p:sldLayoutId id="2147484716" r:id="rId3"/>
    <p:sldLayoutId id="2147484717" r:id="rId4"/>
    <p:sldLayoutId id="2147484718" r:id="rId5"/>
    <p:sldLayoutId id="2147484719" r:id="rId6"/>
    <p:sldLayoutId id="2147484720" r:id="rId7"/>
    <p:sldLayoutId id="2147484721" r:id="rId8"/>
    <p:sldLayoutId id="2147484722" r:id="rId9"/>
    <p:sldLayoutId id="2147484723" r:id="rId10"/>
    <p:sldLayoutId id="2147484724" r:id="rId11"/>
    <p:sldLayoutId id="2147484725" r:id="rId12"/>
    <p:sldLayoutId id="2147484726" r:id="rId13"/>
    <p:sldLayoutId id="2147484727" r:id="rId14"/>
    <p:sldLayoutId id="2147484728" r:id="rId15"/>
    <p:sldLayoutId id="2147484729" r:id="rId16"/>
  </p:sldLayoutIdLst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93000"/>
        </a:lnSpc>
        <a:spcBef>
          <a:spcPts val="25"/>
        </a:spcBef>
        <a:spcAft>
          <a:spcPct val="0"/>
        </a:spcAft>
        <a:buFont typeface="Arial" pitchFamily="34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0" fontAlgn="base" hangingPunct="0">
        <a:lnSpc>
          <a:spcPct val="93000"/>
        </a:lnSpc>
        <a:spcBef>
          <a:spcPts val="1200"/>
        </a:spcBef>
        <a:spcAft>
          <a:spcPct val="0"/>
        </a:spcAft>
        <a:buFont typeface="Arial" pitchFamily="34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0" fontAlgn="base" hangingPunct="0">
        <a:lnSpc>
          <a:spcPct val="93000"/>
        </a:lnSpc>
        <a:spcBef>
          <a:spcPts val="38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3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568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en-US" sz="1600" b="0" dirty="0">
              <a:solidFill>
                <a:srgbClr val="000000"/>
              </a:solidFill>
            </a:endParaRPr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733424" y="1001713"/>
            <a:ext cx="8535989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3424" y="1933670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402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>
              <a:defRPr/>
            </a:pPr>
            <a:fld id="{E5B6F993-6AAD-4A6A-A44A-A82B7026FAC4}" type="slidenum">
              <a:rPr lang="en-US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5" name="Slide Number Line"/>
          <p:cNvSpPr>
            <a:spLocks noChangeShapeType="1"/>
          </p:cNvSpPr>
          <p:nvPr/>
        </p:nvSpPr>
        <p:spPr bwMode="auto">
          <a:xfrm>
            <a:off x="9269413" y="6734277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056" name="Header Line"/>
          <p:cNvSpPr>
            <a:spLocks noChangeShapeType="1"/>
          </p:cNvSpPr>
          <p:nvPr/>
        </p:nvSpPr>
        <p:spPr bwMode="auto">
          <a:xfrm>
            <a:off x="0" y="765175"/>
            <a:ext cx="9907588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2057" name="Picture 7" descr="ADR_logo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140" y="188913"/>
            <a:ext cx="14620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8" y="207964"/>
            <a:ext cx="504123" cy="442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5479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2" r:id="rId1"/>
    <p:sldLayoutId id="2147484733" r:id="rId2"/>
    <p:sldLayoutId id="2147484734" r:id="rId3"/>
    <p:sldLayoutId id="2147484735" r:id="rId4"/>
    <p:sldLayoutId id="2147484736" r:id="rId5"/>
    <p:sldLayoutId id="2147484737" r:id="rId6"/>
    <p:sldLayoutId id="2147484738" r:id="rId7"/>
    <p:sldLayoutId id="2147484739" r:id="rId8"/>
    <p:sldLayoutId id="2147484740" r:id="rId9"/>
    <p:sldLayoutId id="2147484741" r:id="rId10"/>
    <p:sldLayoutId id="2147484742" r:id="rId11"/>
    <p:sldLayoutId id="2147484743" r:id="rId12"/>
    <p:sldLayoutId id="2147484744" r:id="rId13"/>
    <p:sldLayoutId id="2147484745" r:id="rId14"/>
    <p:sldLayoutId id="2147484746" r:id="rId15"/>
    <p:sldLayoutId id="2147484747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93000"/>
        </a:lnSpc>
        <a:spcBef>
          <a:spcPts val="25"/>
        </a:spcBef>
        <a:spcAft>
          <a:spcPct val="0"/>
        </a:spcAft>
        <a:buFont typeface="Arial" pitchFamily="34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0" fontAlgn="base" hangingPunct="0">
        <a:lnSpc>
          <a:spcPct val="93000"/>
        </a:lnSpc>
        <a:spcBef>
          <a:spcPts val="1200"/>
        </a:spcBef>
        <a:spcAft>
          <a:spcPct val="0"/>
        </a:spcAft>
        <a:buFont typeface="Arial" pitchFamily="34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0" fontAlgn="base" hangingPunct="0">
        <a:lnSpc>
          <a:spcPct val="93000"/>
        </a:lnSpc>
        <a:spcBef>
          <a:spcPts val="38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43943287"/>
              </p:ext>
            </p:extLst>
          </p:nvPr>
        </p:nvGraphicFramePr>
        <p:xfrm>
          <a:off x="0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030" name="Diapositiva think-cell" r:id="rId22" imgW="360" imgH="360" progId="TCLayout.ActiveDocument.1">
                  <p:embed/>
                </p:oleObj>
              </mc:Choice>
              <mc:Fallback>
                <p:oleObj name="Diapositiva think-cell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22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32631" y="1001713"/>
            <a:ext cx="8537046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2631" y="1933576"/>
            <a:ext cx="8537046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it-IT" smtClean="0"/>
              <a:t>Click to edit Master text styles</a:t>
            </a:r>
          </a:p>
          <a:p>
            <a:pPr lvl="1"/>
            <a:r>
              <a:rPr lang="en-US" altLang="it-IT" smtClean="0"/>
              <a:t>Second level</a:t>
            </a:r>
          </a:p>
          <a:p>
            <a:pPr lvl="2"/>
            <a:r>
              <a:rPr lang="en-US" altLang="it-IT" smtClean="0"/>
              <a:t>Third level</a:t>
            </a:r>
          </a:p>
          <a:p>
            <a:pPr lvl="3"/>
            <a:r>
              <a:rPr lang="en-US" altLang="it-IT" smtClean="0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4904" y="6718301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C269A488-05C8-4AB2-8229-BCE5E008B409}" type="slidenum">
              <a:rPr lang="en-US">
                <a:solidFill>
                  <a:srgbClr val="000000"/>
                </a:solidFill>
                <a:latin typeface="Arial"/>
                <a:cs typeface="+mn-cs"/>
              </a:rPr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0" name="Slide Number Line"/>
          <p:cNvSpPr>
            <a:spLocks noChangeShapeType="1"/>
          </p:cNvSpPr>
          <p:nvPr/>
        </p:nvSpPr>
        <p:spPr bwMode="auto">
          <a:xfrm>
            <a:off x="9269677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1" name="Header Line"/>
          <p:cNvSpPr>
            <a:spLocks noChangeShapeType="1"/>
          </p:cNvSpPr>
          <p:nvPr/>
        </p:nvSpPr>
        <p:spPr bwMode="auto">
          <a:xfrm>
            <a:off x="0" y="765175"/>
            <a:ext cx="9907720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  <a:latin typeface="Arial"/>
              <a:cs typeface="+mn-cs"/>
            </a:endParaRPr>
          </a:p>
        </p:txBody>
      </p:sp>
      <p:graphicFrame>
        <p:nvGraphicFramePr>
          <p:cNvPr id="9" name="Oggetto 8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80573176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031" name="Diapositiva think-cell" r:id="rId24" imgW="270" imgH="270" progId="TCLayout.ActiveDocument.1">
                  <p:embed/>
                </p:oleObj>
              </mc:Choice>
              <mc:Fallback>
                <p:oleObj name="Diapositiva think-cell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2" descr="Logo ADR Assistance DEF"/>
          <p:cNvPicPr/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6927" y="119207"/>
            <a:ext cx="825500" cy="6667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9554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9" r:id="rId1"/>
    <p:sldLayoutId id="2147484750" r:id="rId2"/>
    <p:sldLayoutId id="2147484751" r:id="rId3"/>
    <p:sldLayoutId id="2147484752" r:id="rId4"/>
    <p:sldLayoutId id="2147484753" r:id="rId5"/>
    <p:sldLayoutId id="2147484754" r:id="rId6"/>
    <p:sldLayoutId id="2147484755" r:id="rId7"/>
    <p:sldLayoutId id="2147484756" r:id="rId8"/>
    <p:sldLayoutId id="2147484757" r:id="rId9"/>
    <p:sldLayoutId id="2147484758" r:id="rId10"/>
    <p:sldLayoutId id="2147484759" r:id="rId11"/>
    <p:sldLayoutId id="2147484760" r:id="rId12"/>
    <p:sldLayoutId id="2147484761" r:id="rId13"/>
    <p:sldLayoutId id="2147484762" r:id="rId14"/>
    <p:sldLayoutId id="2147484763" r:id="rId15"/>
    <p:sldLayoutId id="2147484764" r:id="rId16"/>
    <p:sldLayoutId id="2147484765" r:id="rId17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93000"/>
        </a:lnSpc>
        <a:spcBef>
          <a:spcPts val="25"/>
        </a:spcBef>
        <a:spcAft>
          <a:spcPct val="0"/>
        </a:spcAft>
        <a:buFont typeface="Arial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0" fontAlgn="base" hangingPunct="0">
        <a:lnSpc>
          <a:spcPct val="93000"/>
        </a:lnSpc>
        <a:spcBef>
          <a:spcPts val="1200"/>
        </a:spcBef>
        <a:spcAft>
          <a:spcPct val="0"/>
        </a:spcAft>
        <a:buFont typeface="Arial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0" fontAlgn="base" hangingPunct="0">
        <a:lnSpc>
          <a:spcPct val="93000"/>
        </a:lnSpc>
        <a:spcBef>
          <a:spcPts val="38"/>
        </a:spcBef>
        <a:spcAft>
          <a:spcPct val="0"/>
        </a:spcAft>
        <a:buFont typeface="Arial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9.xml"/><Relationship Id="rId7" Type="http://schemas.openxmlformats.org/officeDocument/2006/relationships/image" Target="../media/image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slideLayout" Target="../slideLayouts/slideLayout49.xml"/><Relationship Id="rId2" Type="http://schemas.openxmlformats.org/officeDocument/2006/relationships/tags" Target="../tags/tag20.xml"/><Relationship Id="rId16" Type="http://schemas.openxmlformats.org/officeDocument/2006/relationships/chart" Target="../charts/chart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31.xml"/><Relationship Id="rId7" Type="http://schemas.openxmlformats.org/officeDocument/2006/relationships/image" Target="../media/image5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7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072125"/>
              </p:ext>
            </p:extLst>
          </p:nvPr>
        </p:nvGraphicFramePr>
        <p:xfrm>
          <a:off x="1643" y="168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973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3" y="168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4"/>
          <p:cNvSpPr>
            <a:spLocks noChangeArrowheads="1"/>
          </p:cNvSpPr>
          <p:nvPr/>
        </p:nvSpPr>
        <p:spPr bwMode="auto">
          <a:xfrm>
            <a:off x="741419" y="5318227"/>
            <a:ext cx="42322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>
              <a:lnSpc>
                <a:spcPts val="2500"/>
              </a:lnSpc>
            </a:pPr>
            <a:r>
              <a:rPr lang="it-IT" sz="1700" b="0" dirty="0">
                <a:solidFill>
                  <a:srgbClr val="000000"/>
                </a:solidFill>
              </a:rPr>
              <a:t>Giugno 2013</a:t>
            </a: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blackGray">
          <a:xfrm>
            <a:off x="593186" y="5237922"/>
            <a:ext cx="8410680" cy="1431258"/>
          </a:xfrm>
          <a:prstGeom prst="rect">
            <a:avLst/>
          </a:prstGeom>
          <a:solidFill>
            <a:srgbClr val="25688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58000" tIns="118800"/>
          <a:lstStyle/>
          <a:p>
            <a:pPr algn="l" fontAlgn="auto">
              <a:spcBef>
                <a:spcPts val="0"/>
              </a:spcBef>
              <a:spcAft>
                <a:spcPct val="30000"/>
              </a:spcAft>
              <a:defRPr/>
            </a:pPr>
            <a:r>
              <a:rPr lang="it-IT" sz="2400" kern="0" dirty="0" smtClean="0">
                <a:solidFill>
                  <a:schemeClr val="bg1"/>
                </a:solidFill>
              </a:rPr>
              <a:t>Assistenza PRM -  </a:t>
            </a:r>
            <a:r>
              <a:rPr lang="it-IT" sz="2400" kern="0" dirty="0">
                <a:solidFill>
                  <a:schemeClr val="bg1"/>
                </a:solidFill>
              </a:rPr>
              <a:t>Aeroporto di Fiumicino</a:t>
            </a:r>
          </a:p>
          <a:p>
            <a:pPr algn="l" fontAlgn="auto">
              <a:spcBef>
                <a:spcPts val="0"/>
              </a:spcBef>
              <a:spcAft>
                <a:spcPct val="30000"/>
              </a:spcAft>
              <a:defRPr/>
            </a:pPr>
            <a:r>
              <a:rPr lang="it-IT" sz="2400" kern="0" dirty="0">
                <a:solidFill>
                  <a:schemeClr val="bg1"/>
                </a:solidFill>
              </a:rPr>
              <a:t>Consuntivazione </a:t>
            </a:r>
            <a:r>
              <a:rPr lang="it-IT" sz="2400" kern="0" dirty="0" smtClean="0">
                <a:solidFill>
                  <a:schemeClr val="bg1"/>
                </a:solidFill>
              </a:rPr>
              <a:t>2017 </a:t>
            </a:r>
            <a:r>
              <a:rPr lang="it-IT" sz="2400" kern="0" dirty="0">
                <a:solidFill>
                  <a:schemeClr val="bg1"/>
                </a:solidFill>
              </a:rPr>
              <a:t>e </a:t>
            </a:r>
            <a:r>
              <a:rPr lang="it-IT" sz="2400" kern="0" dirty="0" smtClean="0">
                <a:solidFill>
                  <a:schemeClr val="bg1"/>
                </a:solidFill>
              </a:rPr>
              <a:t>proposta tariffaria 2018</a:t>
            </a:r>
            <a:endParaRPr lang="it-IT" sz="1800" kern="0" dirty="0" smtClean="0">
              <a:solidFill>
                <a:schemeClr val="bg1"/>
              </a:solidFill>
            </a:endParaRPr>
          </a:p>
          <a:p>
            <a:pPr algn="l" fontAlgn="auto">
              <a:spcBef>
                <a:spcPts val="0"/>
              </a:spcBef>
              <a:spcAft>
                <a:spcPct val="30000"/>
              </a:spcAft>
              <a:defRPr/>
            </a:pPr>
            <a:r>
              <a:rPr lang="it-IT" sz="2200" b="0" kern="0" dirty="0" smtClean="0">
                <a:solidFill>
                  <a:srgbClr val="FFFFFF"/>
                </a:solidFill>
              </a:rPr>
              <a:t>			</a:t>
            </a:r>
          </a:p>
        </p:txBody>
      </p:sp>
      <p:pic>
        <p:nvPicPr>
          <p:cNvPr id="844948" name="Picture 14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025" y="1049338"/>
            <a:ext cx="8456613" cy="414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45175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937632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146"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fontAlgn="auto">
              <a:lnSpc>
                <a:spcPct val="90000"/>
              </a:lnSpc>
            </a:pPr>
            <a:endParaRPr lang="it-IT" sz="140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303336" y="414155"/>
            <a:ext cx="8535989" cy="684212"/>
          </a:xfrm>
        </p:spPr>
        <p:txBody>
          <a:bodyPr/>
          <a:lstStyle/>
          <a:p>
            <a:r>
              <a:rPr lang="it-IT" dirty="0" smtClean="0"/>
              <a:t>Consuntivazione 2017 </a:t>
            </a:r>
            <a:r>
              <a:rPr lang="it-IT" dirty="0" smtClean="0">
                <a:solidFill>
                  <a:srgbClr val="C00000"/>
                </a:solidFill>
              </a:rPr>
              <a:t/>
            </a:r>
            <a:br>
              <a:rPr lang="it-IT" dirty="0" smtClean="0">
                <a:solidFill>
                  <a:srgbClr val="C00000"/>
                </a:solidFill>
              </a:rPr>
            </a:br>
            <a:endParaRPr lang="it-IT" b="0" i="1" dirty="0">
              <a:solidFill>
                <a:srgbClr val="C00000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194471" y="1289720"/>
            <a:ext cx="9439049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Nel 2017 i</a:t>
            </a:r>
            <a:r>
              <a:rPr lang="it-IT" sz="1600" b="0" dirty="0" smtClean="0">
                <a:solidFill>
                  <a:srgbClr val="000000"/>
                </a:solidFill>
                <a:latin typeface="Arial"/>
              </a:rPr>
              <a:t>l </a:t>
            </a:r>
            <a:r>
              <a:rPr lang="it-IT" sz="1600" b="0" dirty="0">
                <a:solidFill>
                  <a:srgbClr val="000000"/>
                </a:solidFill>
                <a:latin typeface="Arial"/>
              </a:rPr>
              <a:t>servizio PRM </a:t>
            </a:r>
            <a:r>
              <a:rPr lang="it-IT" sz="1600" b="0" dirty="0" smtClean="0">
                <a:solidFill>
                  <a:srgbClr val="000000"/>
                </a:solidFill>
                <a:latin typeface="Arial"/>
              </a:rPr>
              <a:t>ha beneficiato dell’</a:t>
            </a: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implementazione di cambiamenti significativi ed in linea con quanto presentato al Comitato Utenti lo scorso anno.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it-IT" sz="16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A fronte di condizionamenti infrastrutturali/operativi emersi durante la prima parte dell’anno, il nuovo approccio non ha prodotto nel </a:t>
            </a:r>
            <a:r>
              <a:rPr lang="it-IT" sz="1600" b="0" dirty="0">
                <a:solidFill>
                  <a:srgbClr val="000000"/>
                </a:solidFill>
                <a:latin typeface="Arial"/>
                <a:cs typeface="+mn-cs"/>
              </a:rPr>
              <a:t>breve </a:t>
            </a: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i risultati attesi in termini affidabilità del servizio da parte dei clienti vettori.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endParaRPr lang="it-IT" sz="1600" b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Il riallineamento delle risorse al fabbisogno determinato dai nuovi processi operativi e l’avvio del controllo passaporti </a:t>
            </a:r>
            <a:r>
              <a:rPr lang="it-IT" sz="1600" b="0" i="1" dirty="0" err="1" smtClean="0">
                <a:solidFill>
                  <a:srgbClr val="000000"/>
                </a:solidFill>
                <a:latin typeface="Arial"/>
                <a:cs typeface="+mn-cs"/>
              </a:rPr>
              <a:t>airside</a:t>
            </a: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 (CBC) hanno consentito da giugno un progressivo recupero nel livello di puntualità dei processi di imbarco e sbarco PRM.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it-IT" sz="16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Il </a:t>
            </a:r>
            <a:r>
              <a:rPr lang="it-IT" sz="1600" b="0" dirty="0" err="1" smtClean="0">
                <a:solidFill>
                  <a:srgbClr val="000000"/>
                </a:solidFill>
                <a:latin typeface="Arial"/>
                <a:cs typeface="+mn-cs"/>
              </a:rPr>
              <a:t>GdL</a:t>
            </a: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 avviato con AOC con l’obiettivo di identificare i </a:t>
            </a:r>
            <a:r>
              <a:rPr lang="it-IT" sz="1600" b="0" i="1" dirty="0" smtClean="0">
                <a:solidFill>
                  <a:srgbClr val="000000"/>
                </a:solidFill>
                <a:latin typeface="Arial"/>
                <a:cs typeface="+mn-cs"/>
              </a:rPr>
              <a:t>desiderata</a:t>
            </a: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 dei vettori al fine di concordare un </a:t>
            </a:r>
            <a:r>
              <a:rPr lang="it-IT" sz="1600" b="0" i="1" dirty="0" smtClean="0">
                <a:solidFill>
                  <a:srgbClr val="000000"/>
                </a:solidFill>
                <a:latin typeface="Arial"/>
                <a:cs typeface="+mn-cs"/>
              </a:rPr>
              <a:t>modus operandi </a:t>
            </a: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di sistema basato su </a:t>
            </a:r>
            <a:r>
              <a:rPr lang="it-IT" sz="1600" b="0" i="1" dirty="0" err="1" smtClean="0">
                <a:solidFill>
                  <a:srgbClr val="000000"/>
                </a:solidFill>
                <a:latin typeface="Arial"/>
                <a:cs typeface="+mn-cs"/>
              </a:rPr>
              <a:t>reference</a:t>
            </a:r>
            <a:r>
              <a:rPr lang="it-IT" sz="1600" b="0" i="1" dirty="0" smtClean="0">
                <a:solidFill>
                  <a:srgbClr val="000000"/>
                </a:solidFill>
                <a:latin typeface="Arial"/>
                <a:cs typeface="+mn-cs"/>
              </a:rPr>
              <a:t> model </a:t>
            </a: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in merito ai processi di imbarco e sbarco PRM è in fase avanzata di elaborazione.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it-IT" sz="16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0000"/>
                </a:solidFill>
                <a:latin typeface="Arial"/>
                <a:cs typeface="+mn-cs"/>
              </a:rPr>
              <a:t>Gli obiettivi di servizio al PRM sugli indicatori di Carta dei servizi sono stati ad oggi tutti raggiunti.</a:t>
            </a:r>
            <a:endParaRPr lang="it-IT" sz="1600" b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it-IT" b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it-IT" b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it-IT" sz="1400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95" y="197329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6694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ggetto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104153"/>
              </p:ext>
            </p:ext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45" name="Diapositiva think-cell" r:id="rId13" imgW="270" imgH="270" progId="TCLayout.ActiveDocument.1">
                  <p:embed/>
                </p:oleObj>
              </mc:Choice>
              <mc:Fallback>
                <p:oleObj name="Diapositiva think-cell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1400" b="1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0244" name="Rectangle 2"/>
          <p:cNvSpPr>
            <a:spLocks noGrp="1"/>
          </p:cNvSpPr>
          <p:nvPr>
            <p:ph type="title"/>
          </p:nvPr>
        </p:nvSpPr>
        <p:spPr>
          <a:xfrm>
            <a:off x="922203" y="533433"/>
            <a:ext cx="6943992" cy="375862"/>
          </a:xfrm>
        </p:spPr>
        <p:txBody>
          <a:bodyPr/>
          <a:lstStyle/>
          <a:p>
            <a:r>
              <a:rPr lang="it-IT" altLang="it-IT" dirty="0" smtClean="0"/>
              <a:t> Assistenze PRM e volumi di traffico a FCO  2012-2017</a:t>
            </a:r>
          </a:p>
        </p:txBody>
      </p:sp>
      <p:cxnSp>
        <p:nvCxnSpPr>
          <p:cNvPr id="7210" name="Connettore 1 7209"/>
          <p:cNvCxnSpPr/>
          <p:nvPr>
            <p:custDataLst>
              <p:tags r:id="rId4"/>
            </p:custDataLst>
          </p:nvPr>
        </p:nvCxnSpPr>
        <p:spPr bwMode="auto">
          <a:xfrm>
            <a:off x="7165578" y="1470161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09" name="Connettore 1 7208"/>
          <p:cNvCxnSpPr/>
          <p:nvPr>
            <p:custDataLst>
              <p:tags r:id="rId5"/>
            </p:custDataLst>
          </p:nvPr>
        </p:nvCxnSpPr>
        <p:spPr bwMode="auto">
          <a:xfrm>
            <a:off x="1280495" y="1434053"/>
            <a:ext cx="5889232" cy="13257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08" name="Connettore 1 7207"/>
          <p:cNvCxnSpPr/>
          <p:nvPr>
            <p:custDataLst>
              <p:tags r:id="rId6"/>
            </p:custDataLst>
          </p:nvPr>
        </p:nvCxnSpPr>
        <p:spPr bwMode="auto">
          <a:xfrm flipV="1">
            <a:off x="1280495" y="1447304"/>
            <a:ext cx="0" cy="1045731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07" name="Ovale 7206"/>
          <p:cNvSpPr/>
          <p:nvPr>
            <p:custDataLst>
              <p:tags r:id="rId7"/>
            </p:custDataLst>
          </p:nvPr>
        </p:nvSpPr>
        <p:spPr bwMode="auto">
          <a:xfrm>
            <a:off x="3862030" y="1324195"/>
            <a:ext cx="772187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smtClean="0">
                <a:solidFill>
                  <a:srgbClr val="000000"/>
                </a:solidFill>
              </a:rPr>
              <a:t>+12,5%</a:t>
            </a:r>
            <a:endParaRPr lang="it-IT" sz="1400" b="1" dirty="0">
              <a:solidFill>
                <a:srgbClr val="000000"/>
              </a:solidFill>
              <a:sym typeface="+mn-lt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7932870" y="5598856"/>
            <a:ext cx="1467168" cy="448661"/>
            <a:chOff x="7932870" y="1421851"/>
            <a:chExt cx="1467168" cy="448661"/>
          </a:xfrm>
        </p:grpSpPr>
        <p:cxnSp>
          <p:nvCxnSpPr>
            <p:cNvPr id="7177" name="Connettore 1 7176"/>
            <p:cNvCxnSpPr/>
            <p:nvPr>
              <p:custDataLst>
                <p:tags r:id="rId8"/>
              </p:custDataLst>
            </p:nvPr>
          </p:nvCxnSpPr>
          <p:spPr bwMode="gray">
            <a:xfrm>
              <a:off x="7976954" y="1784140"/>
              <a:ext cx="237331" cy="0"/>
            </a:xfrm>
            <a:prstGeom prst="line">
              <a:avLst/>
            </a:prstGeom>
            <a:ln w="19050">
              <a:solidFill>
                <a:srgbClr val="FF960C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76" name="Rettangolo 7175"/>
            <p:cNvSpPr/>
            <p:nvPr>
              <p:custDataLst>
                <p:tags r:id="rId9"/>
              </p:custDataLst>
            </p:nvPr>
          </p:nvSpPr>
          <p:spPr bwMode="auto">
            <a:xfrm>
              <a:off x="7982113" y="1426613"/>
              <a:ext cx="232172" cy="160338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Rettangolo 8"/>
            <p:cNvSpPr/>
            <p:nvPr>
              <p:custDataLst>
                <p:tags r:id="rId10"/>
              </p:custDataLst>
            </p:nvPr>
          </p:nvSpPr>
          <p:spPr bwMode="auto">
            <a:xfrm>
              <a:off x="7932870" y="1684778"/>
              <a:ext cx="1467168" cy="18573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100" dirty="0" smtClean="0">
                  <a:solidFill>
                    <a:srgbClr val="000000"/>
                  </a:solidFill>
                </a:rPr>
                <a:t>PRM Index </a:t>
              </a:r>
              <a:endParaRPr lang="it-IT" sz="1100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8" name="Rettangolo 7"/>
            <p:cNvSpPr/>
            <p:nvPr>
              <p:custDataLst>
                <p:tags r:id="rId11"/>
              </p:custDataLst>
            </p:nvPr>
          </p:nvSpPr>
          <p:spPr bwMode="auto">
            <a:xfrm>
              <a:off x="8358901" y="1421851"/>
              <a:ext cx="796264" cy="18256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fld id="{85BD7186-C9A1-43A6-AB4C-DA92117482E8}" type="datetime'''''''''''A''''''''s''''s''i''''''s''''''''''te''''nz''''e'">
                <a:rPr lang="en-US" sz="1100">
                  <a:solidFill>
                    <a:srgbClr val="000000"/>
                  </a:solidFill>
                </a:rPr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t>Assistenze</a:t>
              </a:fld>
              <a:endParaRPr lang="it-IT" sz="1100" dirty="0">
                <a:solidFill>
                  <a:srgbClr val="000000"/>
                </a:solidFill>
                <a:sym typeface="+mn-lt"/>
              </a:endParaRPr>
            </a:p>
          </p:txBody>
        </p:sp>
      </p:grpSp>
      <p:sp>
        <p:nvSpPr>
          <p:cNvPr id="10266" name="CasellaDiTesto 7205"/>
          <p:cNvSpPr txBox="1">
            <a:spLocks noChangeArrowheads="1"/>
          </p:cNvSpPr>
          <p:nvPr/>
        </p:nvSpPr>
        <p:spPr bwMode="auto">
          <a:xfrm>
            <a:off x="698557" y="5508900"/>
            <a:ext cx="8732837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algn="l" eaLnBrk="1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it-IT" altLang="it-IT" sz="1600" b="0" dirty="0" smtClean="0">
                <a:solidFill>
                  <a:srgbClr val="000000"/>
                </a:solidFill>
              </a:rPr>
              <a:t>CAGR Assistenze 2012-2017:  4,1% </a:t>
            </a:r>
            <a:endParaRPr lang="it-IT" altLang="it-IT" sz="1600" b="0" dirty="0">
              <a:solidFill>
                <a:srgbClr val="000000"/>
              </a:solidFill>
            </a:endParaRPr>
          </a:p>
          <a:p>
            <a:pPr lvl="1" algn="l" eaLnBrk="1" hangingPunct="1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it-IT" altLang="it-IT" sz="1600" b="0" dirty="0" smtClean="0">
                <a:solidFill>
                  <a:srgbClr val="000000"/>
                </a:solidFill>
              </a:rPr>
              <a:t>CAGR </a:t>
            </a:r>
            <a:r>
              <a:rPr lang="it-IT" sz="1600" b="0" dirty="0" smtClean="0"/>
              <a:t>Traffico 2012-2017:        2,4%</a:t>
            </a:r>
            <a:endParaRPr lang="it-IT" altLang="it-IT" sz="1600" b="0" dirty="0">
              <a:solidFill>
                <a:srgbClr val="000000"/>
              </a:solidFill>
            </a:endParaRPr>
          </a:p>
        </p:txBody>
      </p:sp>
      <p:sp>
        <p:nvSpPr>
          <p:cNvPr id="10267" name="CasellaDiTesto 7210"/>
          <p:cNvSpPr txBox="1">
            <a:spLocks noChangeArrowheads="1"/>
          </p:cNvSpPr>
          <p:nvPr/>
        </p:nvSpPr>
        <p:spPr bwMode="auto">
          <a:xfrm>
            <a:off x="4" y="4630900"/>
            <a:ext cx="115277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it-IT" sz="1000" dirty="0" smtClean="0">
                <a:solidFill>
                  <a:srgbClr val="000000"/>
                </a:solidFill>
              </a:rPr>
              <a:t>TRAFFIC FCO</a:t>
            </a:r>
            <a:endParaRPr lang="it-IT" altLang="it-IT" sz="1000" dirty="0">
              <a:solidFill>
                <a:srgbClr val="000000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it-IT" sz="1000" dirty="0" smtClean="0">
                <a:solidFill>
                  <a:srgbClr val="000000"/>
                </a:solidFill>
              </a:rPr>
              <a:t>(mln pax)</a:t>
            </a:r>
            <a:endParaRPr lang="it-IT" altLang="it-IT" sz="1000" dirty="0">
              <a:solidFill>
                <a:srgbClr val="000000"/>
              </a:solidFill>
            </a:endParaRPr>
          </a:p>
        </p:txBody>
      </p:sp>
      <p:sp>
        <p:nvSpPr>
          <p:cNvPr id="10269" name="CasellaDiTesto 77"/>
          <p:cNvSpPr txBox="1">
            <a:spLocks noChangeArrowheads="1"/>
          </p:cNvSpPr>
          <p:nvPr/>
        </p:nvSpPr>
        <p:spPr bwMode="auto">
          <a:xfrm>
            <a:off x="5622412" y="4515954"/>
            <a:ext cx="70373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it-IT" sz="1000" dirty="0" smtClean="0">
                <a:solidFill>
                  <a:srgbClr val="000000"/>
                </a:solidFill>
              </a:rPr>
              <a:t>41,74</a:t>
            </a:r>
            <a:endParaRPr lang="it-IT" altLang="it-IT" sz="1000" dirty="0">
              <a:solidFill>
                <a:srgbClr val="000000"/>
              </a:solidFill>
            </a:endParaRPr>
          </a:p>
        </p:txBody>
      </p:sp>
      <p:sp>
        <p:nvSpPr>
          <p:cNvPr id="10270" name="CasellaDiTesto 78"/>
          <p:cNvSpPr txBox="1">
            <a:spLocks noChangeArrowheads="1"/>
          </p:cNvSpPr>
          <p:nvPr/>
        </p:nvSpPr>
        <p:spPr bwMode="auto">
          <a:xfrm>
            <a:off x="988878" y="4501642"/>
            <a:ext cx="70548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it-IT" sz="1000" dirty="0" smtClean="0">
                <a:solidFill>
                  <a:srgbClr val="000000"/>
                </a:solidFill>
              </a:rPr>
              <a:t>37,06</a:t>
            </a:r>
            <a:endParaRPr lang="it-IT" altLang="it-IT" sz="1000" dirty="0">
              <a:solidFill>
                <a:srgbClr val="000000"/>
              </a:solidFill>
            </a:endParaRPr>
          </a:p>
        </p:txBody>
      </p:sp>
      <p:sp>
        <p:nvSpPr>
          <p:cNvPr id="10271" name="CasellaDiTesto 79"/>
          <p:cNvSpPr txBox="1">
            <a:spLocks noChangeArrowheads="1"/>
          </p:cNvSpPr>
          <p:nvPr/>
        </p:nvSpPr>
        <p:spPr bwMode="auto">
          <a:xfrm>
            <a:off x="2195624" y="4502028"/>
            <a:ext cx="70548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it-IT" sz="1000" dirty="0" smtClean="0">
                <a:solidFill>
                  <a:srgbClr val="000000"/>
                </a:solidFill>
              </a:rPr>
              <a:t>36,27</a:t>
            </a:r>
            <a:endParaRPr lang="it-IT" altLang="it-IT" sz="1000" dirty="0">
              <a:solidFill>
                <a:srgbClr val="000000"/>
              </a:solidFill>
            </a:endParaRPr>
          </a:p>
        </p:txBody>
      </p:sp>
      <p:cxnSp>
        <p:nvCxnSpPr>
          <p:cNvPr id="7213" name="Connettore 4 7212"/>
          <p:cNvCxnSpPr/>
          <p:nvPr/>
        </p:nvCxnSpPr>
        <p:spPr>
          <a:xfrm rot="16200000" flipH="1">
            <a:off x="4208414" y="1774168"/>
            <a:ext cx="28624" cy="5976000"/>
          </a:xfrm>
          <a:prstGeom prst="bentConnector3">
            <a:avLst>
              <a:gd name="adj1" fmla="val 934932"/>
            </a:avLst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16" name="Ovale 7215"/>
          <p:cNvSpPr/>
          <p:nvPr/>
        </p:nvSpPr>
        <p:spPr>
          <a:xfrm>
            <a:off x="3932861" y="4695443"/>
            <a:ext cx="64928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b="1" dirty="0" smtClean="0">
                <a:solidFill>
                  <a:srgbClr val="000000"/>
                </a:solidFill>
              </a:rPr>
              <a:t>+</a:t>
            </a:r>
            <a:r>
              <a:rPr lang="it-IT" sz="1400" dirty="0" smtClean="0">
                <a:solidFill>
                  <a:srgbClr val="000000"/>
                </a:solidFill>
              </a:rPr>
              <a:t>11</a:t>
            </a:r>
            <a:r>
              <a:rPr lang="it-IT" sz="1400" b="1" dirty="0" smtClean="0">
                <a:solidFill>
                  <a:srgbClr val="000000"/>
                </a:solidFill>
              </a:rPr>
              <a:t>,5%</a:t>
            </a:r>
            <a:endParaRPr lang="it-IT" sz="1400" b="1" dirty="0">
              <a:solidFill>
                <a:srgbClr val="000000"/>
              </a:solidFill>
            </a:endParaRPr>
          </a:p>
        </p:txBody>
      </p:sp>
      <p:sp>
        <p:nvSpPr>
          <p:cNvPr id="40" name="CasellaDiTesto 78"/>
          <p:cNvSpPr txBox="1">
            <a:spLocks noChangeArrowheads="1"/>
          </p:cNvSpPr>
          <p:nvPr/>
        </p:nvSpPr>
        <p:spPr bwMode="auto">
          <a:xfrm>
            <a:off x="3375296" y="4501641"/>
            <a:ext cx="70548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it-IT" sz="1000" dirty="0" smtClean="0">
                <a:solidFill>
                  <a:srgbClr val="000000"/>
                </a:solidFill>
              </a:rPr>
              <a:t>38,62</a:t>
            </a:r>
            <a:endParaRPr lang="it-IT" altLang="it-IT" sz="1000" dirty="0">
              <a:solidFill>
                <a:srgbClr val="000000"/>
              </a:solidFill>
            </a:endParaRPr>
          </a:p>
        </p:txBody>
      </p:sp>
      <p:sp>
        <p:nvSpPr>
          <p:cNvPr id="41" name="CasellaDiTesto 79"/>
          <p:cNvSpPr txBox="1">
            <a:spLocks noChangeArrowheads="1"/>
          </p:cNvSpPr>
          <p:nvPr/>
        </p:nvSpPr>
        <p:spPr bwMode="auto">
          <a:xfrm>
            <a:off x="6840736" y="4525417"/>
            <a:ext cx="70548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it-IT" sz="1000" dirty="0" smtClean="0">
                <a:solidFill>
                  <a:srgbClr val="000000"/>
                </a:solidFill>
              </a:rPr>
              <a:t>41,33</a:t>
            </a:r>
            <a:endParaRPr lang="it-IT" altLang="it-IT" sz="1000" dirty="0">
              <a:solidFill>
                <a:srgbClr val="000000"/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CasellaDiTesto 78"/>
          <p:cNvSpPr txBox="1">
            <a:spLocks noChangeArrowheads="1"/>
          </p:cNvSpPr>
          <p:nvPr/>
        </p:nvSpPr>
        <p:spPr bwMode="auto">
          <a:xfrm>
            <a:off x="4510827" y="4508650"/>
            <a:ext cx="70548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it-IT" sz="1000" dirty="0" smtClean="0">
                <a:solidFill>
                  <a:srgbClr val="000000"/>
                </a:solidFill>
              </a:rPr>
              <a:t>40,46</a:t>
            </a:r>
            <a:endParaRPr lang="it-IT" altLang="it-IT" sz="1000" dirty="0">
              <a:solidFill>
                <a:srgbClr val="000000"/>
              </a:solidFill>
            </a:endParaRPr>
          </a:p>
        </p:txBody>
      </p:sp>
      <p:graphicFrame>
        <p:nvGraphicFramePr>
          <p:cNvPr id="29" name="Grafico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1863287"/>
              </p:ext>
            </p:extLst>
          </p:nvPr>
        </p:nvGraphicFramePr>
        <p:xfrm>
          <a:off x="277240" y="1470161"/>
          <a:ext cx="8877925" cy="3073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110908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ggetto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7405079"/>
              </p:ext>
            </p:ext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52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1400" b="1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0244" name="Rectangle 2"/>
          <p:cNvSpPr>
            <a:spLocks noGrp="1"/>
          </p:cNvSpPr>
          <p:nvPr>
            <p:ph type="title"/>
          </p:nvPr>
        </p:nvSpPr>
        <p:spPr>
          <a:xfrm>
            <a:off x="673793" y="796161"/>
            <a:ext cx="8535989" cy="437898"/>
          </a:xfrm>
        </p:spPr>
        <p:txBody>
          <a:bodyPr/>
          <a:lstStyle/>
          <a:p>
            <a:r>
              <a:rPr lang="it-IT" altLang="it-IT" dirty="0" smtClean="0"/>
              <a:t>Assistenze PRM FCO settembre 2017 vs settembre 2016</a:t>
            </a:r>
          </a:p>
        </p:txBody>
      </p:sp>
      <p:sp>
        <p:nvSpPr>
          <p:cNvPr id="3" name="CasellaDiTesto 2"/>
          <p:cNvSpPr txBox="1"/>
          <p:nvPr/>
        </p:nvSpPr>
        <p:spPr>
          <a:xfrm>
            <a:off x="681899" y="1773978"/>
            <a:ext cx="6830439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600" b="0" dirty="0" smtClean="0"/>
              <a:t>N. assistenze:	                   		244.923 (+0,2%)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it-IT" sz="1600" b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600" b="0" dirty="0" smtClean="0"/>
              <a:t>% </a:t>
            </a:r>
            <a:r>
              <a:rPr lang="it-IT" sz="1600" b="0" dirty="0" err="1" smtClean="0"/>
              <a:t>pre</a:t>
            </a:r>
            <a:r>
              <a:rPr lang="it-IT" sz="1600" b="0" dirty="0" smtClean="0"/>
              <a:t>-notificate (&gt;36h):	   		    61,8% (+2,7%) </a:t>
            </a:r>
            <a:endParaRPr lang="it-IT" sz="1600" b="0" dirty="0"/>
          </a:p>
          <a:p>
            <a:pPr algn="l"/>
            <a:endParaRPr lang="it-IT" sz="1600" b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600" b="0" dirty="0" smtClean="0"/>
              <a:t>N. movimenti serviti (Arrivi e Partenze):	  106.150  (-2,3%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it-IT" sz="1600" b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600" b="0" dirty="0" smtClean="0"/>
              <a:t>Breakdown assistenze per tipologia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it-IT" b="0" dirty="0"/>
          </a:p>
        </p:txBody>
      </p:sp>
      <p:sp>
        <p:nvSpPr>
          <p:cNvPr id="2" name="CasellaDiTesto 1"/>
          <p:cNvSpPr txBox="1"/>
          <p:nvPr/>
        </p:nvSpPr>
        <p:spPr>
          <a:xfrm flipH="1">
            <a:off x="646390" y="1335794"/>
            <a:ext cx="48801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600" dirty="0" err="1" smtClean="0"/>
              <a:t>Highlights</a:t>
            </a:r>
            <a:r>
              <a:rPr lang="it-IT" sz="1600" dirty="0" smtClean="0"/>
              <a:t> </a:t>
            </a:r>
            <a:endParaRPr lang="it-IT" sz="16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9995" name="Picture 31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0371" y="3551485"/>
            <a:ext cx="5117382" cy="3039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8616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3486" y="862560"/>
            <a:ext cx="9030114" cy="367526"/>
          </a:xfrm>
        </p:spPr>
        <p:txBody>
          <a:bodyPr/>
          <a:lstStyle/>
          <a:p>
            <a:r>
              <a:rPr lang="it-IT" dirty="0" smtClean="0"/>
              <a:t>Qualità erogata FCO –  Carta dei Servizi (*) YTD settembre 2017</a:t>
            </a:r>
            <a:endParaRPr lang="it-IT" dirty="0"/>
          </a:p>
        </p:txBody>
      </p:sp>
      <p:pic>
        <p:nvPicPr>
          <p:cNvPr id="8540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1485900"/>
            <a:ext cx="9353550" cy="489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asellaDiTesto 2"/>
          <p:cNvSpPr txBox="1"/>
          <p:nvPr/>
        </p:nvSpPr>
        <p:spPr>
          <a:xfrm>
            <a:off x="342901" y="6219825"/>
            <a:ext cx="8048625" cy="28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b="0" dirty="0" smtClean="0"/>
              <a:t>(*) Target concordati con AOC in fase di definizione tariffa 2017 </a:t>
            </a:r>
            <a:endParaRPr lang="it-IT" b="0" dirty="0"/>
          </a:p>
        </p:txBody>
      </p:sp>
    </p:spTree>
    <p:extLst>
      <p:ext uri="{BB962C8B-B14F-4D97-AF65-F5344CB8AC3E}">
        <p14:creationId xmlns:p14="http://schemas.microsoft.com/office/powerpoint/2010/main" val="310397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3490" y="862560"/>
            <a:ext cx="8535989" cy="684212"/>
          </a:xfrm>
        </p:spPr>
        <p:txBody>
          <a:bodyPr/>
          <a:lstStyle/>
          <a:p>
            <a:r>
              <a:rPr lang="it-IT" dirty="0" smtClean="0"/>
              <a:t>Qualità percepita FCO – Carta dei Servizi YTD settembre 2017</a:t>
            </a:r>
            <a:endParaRPr lang="it-IT" dirty="0"/>
          </a:p>
        </p:txBody>
      </p:sp>
      <p:sp>
        <p:nvSpPr>
          <p:cNvPr id="8" name="CasellaDiTesto 7"/>
          <p:cNvSpPr txBox="1"/>
          <p:nvPr/>
        </p:nvSpPr>
        <p:spPr>
          <a:xfrm>
            <a:off x="566882" y="1230560"/>
            <a:ext cx="7463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400" dirty="0" smtClean="0"/>
              <a:t>Indagine micro-</a:t>
            </a:r>
            <a:r>
              <a:rPr lang="it-IT" sz="1400" dirty="0" err="1" smtClean="0"/>
              <a:t>customer</a:t>
            </a:r>
            <a:r>
              <a:rPr lang="it-IT" sz="1400" dirty="0" smtClean="0"/>
              <a:t> </a:t>
            </a:r>
            <a:r>
              <a:rPr lang="it-IT" sz="1400" b="0" dirty="0" smtClean="0"/>
              <a:t>– </a:t>
            </a:r>
            <a:r>
              <a:rPr lang="it-IT" sz="1400" dirty="0" smtClean="0"/>
              <a:t> Media valutazione complessiva	</a:t>
            </a:r>
            <a:r>
              <a:rPr lang="it-IT" sz="1600" dirty="0" smtClean="0"/>
              <a:t>5,31</a:t>
            </a:r>
            <a:endParaRPr lang="it-IT" sz="1600" dirty="0"/>
          </a:p>
        </p:txBody>
      </p:sp>
      <p:sp>
        <p:nvSpPr>
          <p:cNvPr id="11" name="CasellaDiTesto 10"/>
          <p:cNvSpPr txBox="1"/>
          <p:nvPr/>
        </p:nvSpPr>
        <p:spPr>
          <a:xfrm>
            <a:off x="537061" y="3851564"/>
            <a:ext cx="7463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400" dirty="0" smtClean="0"/>
              <a:t>Indagine micro-</a:t>
            </a:r>
            <a:r>
              <a:rPr lang="it-IT" sz="1400" dirty="0" err="1" smtClean="0"/>
              <a:t>customer</a:t>
            </a:r>
            <a:r>
              <a:rPr lang="it-IT" sz="1400" dirty="0" smtClean="0"/>
              <a:t> </a:t>
            </a:r>
            <a:r>
              <a:rPr lang="it-IT" sz="1400" b="0" dirty="0" smtClean="0"/>
              <a:t>– </a:t>
            </a:r>
            <a:r>
              <a:rPr lang="it-IT" sz="1400" dirty="0" smtClean="0"/>
              <a:t> % PRM soddisfatti (*)		</a:t>
            </a:r>
            <a:r>
              <a:rPr lang="it-IT" sz="1600" dirty="0" smtClean="0"/>
              <a:t>99,80%</a:t>
            </a:r>
            <a:endParaRPr lang="it-IT" sz="1600" dirty="0"/>
          </a:p>
        </p:txBody>
      </p:sp>
      <p:sp>
        <p:nvSpPr>
          <p:cNvPr id="13" name="CasellaDiTesto 12"/>
          <p:cNvSpPr txBox="1"/>
          <p:nvPr/>
        </p:nvSpPr>
        <p:spPr>
          <a:xfrm>
            <a:off x="537060" y="6325977"/>
            <a:ext cx="46117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800" dirty="0" smtClean="0"/>
              <a:t>Scala a 6</a:t>
            </a:r>
          </a:p>
          <a:p>
            <a:pPr algn="l"/>
            <a:r>
              <a:rPr lang="it-IT" sz="800" dirty="0" smtClean="0"/>
              <a:t>Soddisfatti:	6 Eccellente; 5 Buono; 4 Discreto</a:t>
            </a:r>
          </a:p>
          <a:p>
            <a:pPr algn="l"/>
            <a:r>
              <a:rPr lang="it-IT" sz="800" dirty="0" smtClean="0"/>
              <a:t>Non soddisfatti:	3 Appena </a:t>
            </a:r>
            <a:r>
              <a:rPr lang="it-IT" sz="800" dirty="0" err="1" smtClean="0"/>
              <a:t>suff</a:t>
            </a:r>
            <a:r>
              <a:rPr lang="it-IT" sz="800" dirty="0" smtClean="0"/>
              <a:t>; 2 Scarso; 1 Pessimo</a:t>
            </a:r>
          </a:p>
          <a:p>
            <a:endParaRPr lang="it-IT" dirty="0"/>
          </a:p>
        </p:txBody>
      </p:sp>
      <p:pic>
        <p:nvPicPr>
          <p:cNvPr id="8560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4" y="1514476"/>
            <a:ext cx="5172075" cy="2247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60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4" y="4142001"/>
            <a:ext cx="5172075" cy="2187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5317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43" y="168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965" name="think-cell Slide" r:id="rId5" imgW="500" imgH="500" progId="TCLayout.ActiveDocument.1">
                  <p:embed/>
                </p:oleObj>
              </mc:Choice>
              <mc:Fallback>
                <p:oleObj name="think-cell Slide" r:id="rId5" imgW="500" imgH="5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3" y="168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3175">
            <a:solidFill>
              <a:srgbClr val="D6CBC2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400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 txBox="1">
            <a:spLocks/>
          </p:cNvSpPr>
          <p:nvPr/>
        </p:nvSpPr>
        <p:spPr bwMode="auto">
          <a:xfrm>
            <a:off x="708974" y="802122"/>
            <a:ext cx="8535989" cy="340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it-IT" kern="0" dirty="0" err="1" smtClean="0"/>
              <a:t>Key</a:t>
            </a:r>
            <a:r>
              <a:rPr lang="it-IT" kern="0" dirty="0" smtClean="0"/>
              <a:t> </a:t>
            </a:r>
            <a:r>
              <a:rPr lang="it-IT" kern="0" dirty="0" err="1"/>
              <a:t>h</a:t>
            </a:r>
            <a:r>
              <a:rPr lang="it-IT" kern="0" dirty="0" err="1" smtClean="0"/>
              <a:t>ighlights</a:t>
            </a:r>
            <a:r>
              <a:rPr lang="it-IT" kern="0" dirty="0" smtClean="0"/>
              <a:t> ed iniziative 2018</a:t>
            </a:r>
          </a:p>
        </p:txBody>
      </p:sp>
      <p:sp>
        <p:nvSpPr>
          <p:cNvPr id="7" name="CasellaDiTesto 2"/>
          <p:cNvSpPr txBox="1">
            <a:spLocks noChangeArrowheads="1"/>
          </p:cNvSpPr>
          <p:nvPr/>
        </p:nvSpPr>
        <p:spPr bwMode="auto">
          <a:xfrm>
            <a:off x="2888977" y="2665325"/>
            <a:ext cx="29596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Arial" charset="0"/>
              <a:buNone/>
            </a:pPr>
            <a:r>
              <a:rPr lang="it-IT" altLang="it-IT" sz="800" i="1" dirty="0" smtClean="0"/>
              <a:t>*      </a:t>
            </a:r>
            <a:endParaRPr lang="it-IT" altLang="it-IT" sz="800" i="1" dirty="0"/>
          </a:p>
        </p:txBody>
      </p:sp>
      <p:sp>
        <p:nvSpPr>
          <p:cNvPr id="10" name="CasellaDiTesto 2"/>
          <p:cNvSpPr txBox="1">
            <a:spLocks noChangeArrowheads="1"/>
          </p:cNvSpPr>
          <p:nvPr/>
        </p:nvSpPr>
        <p:spPr bwMode="auto">
          <a:xfrm>
            <a:off x="745805" y="3576718"/>
            <a:ext cx="668496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Arial" charset="0"/>
              <a:buNone/>
            </a:pPr>
            <a:r>
              <a:rPr lang="it-IT" altLang="it-IT" sz="800" b="0" i="1" dirty="0"/>
              <a:t>* FTE Full HR comprendono le FTE + il lavoro aggiuntivo      </a:t>
            </a:r>
          </a:p>
        </p:txBody>
      </p:sp>
      <p:sp>
        <p:nvSpPr>
          <p:cNvPr id="11" name="CasellaDiTesto 2"/>
          <p:cNvSpPr txBox="1">
            <a:spLocks noChangeArrowheads="1"/>
          </p:cNvSpPr>
          <p:nvPr/>
        </p:nvSpPr>
        <p:spPr bwMode="auto">
          <a:xfrm>
            <a:off x="1841200" y="3222745"/>
            <a:ext cx="26676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Arial" charset="0"/>
              <a:buNone/>
            </a:pPr>
            <a:r>
              <a:rPr lang="it-IT" altLang="it-IT" sz="800" i="1" dirty="0" smtClean="0"/>
              <a:t>*      </a:t>
            </a:r>
            <a:endParaRPr lang="it-IT" altLang="it-IT" sz="800" i="1" dirty="0"/>
          </a:p>
        </p:txBody>
      </p:sp>
      <p:sp>
        <p:nvSpPr>
          <p:cNvPr id="12" name="CasellaDiTesto 11"/>
          <p:cNvSpPr txBox="1"/>
          <p:nvPr/>
        </p:nvSpPr>
        <p:spPr>
          <a:xfrm>
            <a:off x="708974" y="4132482"/>
            <a:ext cx="816832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endParaRPr lang="it-IT" sz="1400" b="0" dirty="0" smtClean="0"/>
          </a:p>
          <a:p>
            <a:pPr marL="342900" indent="-342900" algn="l">
              <a:buFont typeface="+mj-lt"/>
              <a:buAutoNum type="arabicPeriod"/>
            </a:pPr>
            <a:r>
              <a:rPr lang="it-IT" sz="1600" b="0" dirty="0" smtClean="0"/>
              <a:t>Ottimizzazione dei processi (</a:t>
            </a:r>
            <a:r>
              <a:rPr lang="it-IT" sz="1600" b="0" i="1" dirty="0" smtClean="0"/>
              <a:t>Lean) </a:t>
            </a:r>
            <a:r>
              <a:rPr lang="it-IT" sz="1600" b="0" dirty="0"/>
              <a:t>per il consolidamento e la regolarizzazione della prestazione verso i V</a:t>
            </a:r>
            <a:r>
              <a:rPr lang="it-IT" sz="1600" b="0" dirty="0" smtClean="0"/>
              <a:t>ettori.</a:t>
            </a:r>
          </a:p>
          <a:p>
            <a:pPr marL="342900" indent="-342900" algn="l">
              <a:buFont typeface="+mj-lt"/>
              <a:buAutoNum type="arabicPeriod"/>
            </a:pPr>
            <a:endParaRPr lang="it-IT" sz="1600" b="0" dirty="0"/>
          </a:p>
          <a:p>
            <a:pPr marL="342900" indent="-342900" algn="l">
              <a:buFont typeface="+mj-lt"/>
              <a:buAutoNum type="arabicPeriod"/>
            </a:pPr>
            <a:r>
              <a:rPr lang="it-IT" sz="1600" b="0" dirty="0" smtClean="0"/>
              <a:t>Definizione  </a:t>
            </a:r>
            <a:r>
              <a:rPr lang="it-IT" sz="1600" b="0" dirty="0"/>
              <a:t>e implementazione di sistema di regole operative tra </a:t>
            </a:r>
            <a:r>
              <a:rPr lang="it-IT" sz="1600" b="0" dirty="0" smtClean="0"/>
              <a:t>Vettori</a:t>
            </a:r>
            <a:r>
              <a:rPr lang="it-IT" sz="1600" b="0" dirty="0"/>
              <a:t>, </a:t>
            </a:r>
            <a:r>
              <a:rPr lang="it-IT" sz="1600" b="0" dirty="0" err="1"/>
              <a:t>H</a:t>
            </a:r>
            <a:r>
              <a:rPr lang="it-IT" sz="1600" b="0" dirty="0" err="1" smtClean="0"/>
              <a:t>andler</a:t>
            </a:r>
            <a:r>
              <a:rPr lang="it-IT" sz="1600" b="0" dirty="0" smtClean="0"/>
              <a:t> </a:t>
            </a:r>
            <a:r>
              <a:rPr lang="it-IT" sz="1600" b="0" dirty="0"/>
              <a:t>e </a:t>
            </a:r>
            <a:r>
              <a:rPr lang="it-IT" sz="1600" b="0" dirty="0" smtClean="0"/>
              <a:t>ADR Assistance </a:t>
            </a:r>
            <a:r>
              <a:rPr lang="it-IT" sz="1600" b="0" dirty="0"/>
              <a:t>per la gestione dei processi di imbarco e sbarco PRM «sostenibile»  con la tariffa attuale</a:t>
            </a:r>
          </a:p>
          <a:p>
            <a:pPr algn="l"/>
            <a:r>
              <a:rPr lang="it-IT" sz="1400" b="0" dirty="0" smtClean="0">
                <a:solidFill>
                  <a:srgbClr val="FF0000"/>
                </a:solidFill>
              </a:rPr>
              <a:t> </a:t>
            </a:r>
            <a:endParaRPr lang="it-IT" sz="1400" b="0" dirty="0">
              <a:solidFill>
                <a:srgbClr val="FF0000"/>
              </a:solidFill>
            </a:endParaRPr>
          </a:p>
          <a:p>
            <a:pPr algn="l"/>
            <a:endParaRPr lang="it-IT" dirty="0"/>
          </a:p>
        </p:txBody>
      </p:sp>
      <p:pic>
        <p:nvPicPr>
          <p:cNvPr id="833960" name="Picture 42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60" y="1286933"/>
            <a:ext cx="5216631" cy="2227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4112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title"/>
          </p:nvPr>
        </p:nvSpPr>
        <p:spPr>
          <a:xfrm>
            <a:off x="567463" y="747738"/>
            <a:ext cx="8535989" cy="310680"/>
          </a:xfrm>
        </p:spPr>
        <p:txBody>
          <a:bodyPr/>
          <a:lstStyle/>
          <a:p>
            <a:r>
              <a:rPr lang="it-IT" dirty="0" smtClean="0"/>
              <a:t>Costi ammissibili a tariffa di Fiumicino 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asellaDiTesto 2"/>
          <p:cNvSpPr txBox="1"/>
          <p:nvPr/>
        </p:nvSpPr>
        <p:spPr>
          <a:xfrm>
            <a:off x="5947934" y="885673"/>
            <a:ext cx="3710420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it-IT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b="0" dirty="0"/>
              <a:t>Voce principale </a:t>
            </a:r>
            <a:r>
              <a:rPr lang="it-IT" b="0" dirty="0" smtClean="0"/>
              <a:t>di costo ammesso a tariffa del servizio PRM a Fiumicino è il </a:t>
            </a:r>
            <a:r>
              <a:rPr lang="it-IT" b="0" dirty="0"/>
              <a:t>costo del lavoro </a:t>
            </a:r>
            <a:r>
              <a:rPr lang="it-IT" b="0" dirty="0" smtClean="0"/>
              <a:t>di ADR Assistance che nel 2018 è previsto in crescita </a:t>
            </a:r>
            <a:r>
              <a:rPr lang="it-IT" b="0" dirty="0"/>
              <a:t>a fronte </a:t>
            </a:r>
            <a:r>
              <a:rPr lang="it-IT" b="0" dirty="0" smtClean="0"/>
              <a:t>di un incremento delle risorse FTE combinato con azioni di miglioramento della produttività/efficienza in termini di assistenze medie per FTE Full HR attraverso una riduzione delle ore di lavoro straordinario.</a:t>
            </a:r>
          </a:p>
          <a:p>
            <a:pPr algn="just"/>
            <a:endParaRPr lang="it-IT" b="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b="0" dirty="0" smtClean="0"/>
              <a:t>Tra le altri voci di costo si evidenziano incrementi legati al miglioramento </a:t>
            </a:r>
            <a:r>
              <a:rPr lang="it-IT" b="0" dirty="0"/>
              <a:t>della qualità del servizio </a:t>
            </a:r>
            <a:r>
              <a:rPr lang="it-IT" b="0" dirty="0" smtClean="0"/>
              <a:t>(rinnovo </a:t>
            </a:r>
            <a:r>
              <a:rPr lang="it-IT" b="0" dirty="0"/>
              <a:t>vestiario, interventi migliorativi sui sistemi informatici e sulla formazione del </a:t>
            </a:r>
            <a:r>
              <a:rPr lang="it-IT" b="0" dirty="0" smtClean="0"/>
              <a:t>personale, acquisto sedie a rotelle).</a:t>
            </a:r>
          </a:p>
          <a:p>
            <a:pPr algn="just"/>
            <a:endParaRPr lang="it-IT" b="0" dirty="0">
              <a:solidFill>
                <a:srgbClr val="FF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b="0" dirty="0"/>
              <a:t>Sulla base del </a:t>
            </a:r>
            <a:r>
              <a:rPr lang="it-IT" b="0" i="1" dirty="0" err="1"/>
              <a:t>forecast</a:t>
            </a:r>
            <a:r>
              <a:rPr lang="it-IT" b="0" dirty="0"/>
              <a:t> di traffico 2018 attualmente disponibile, l’equilibrio a copertura dei costi ammessi è individuato in un corrispettivo unitario pari a </a:t>
            </a:r>
            <a:r>
              <a:rPr lang="it-IT" dirty="0"/>
              <a:t>€0,88</a:t>
            </a:r>
            <a:r>
              <a:rPr lang="it-IT" b="0" dirty="0"/>
              <a:t>/pax (escluso il recupero anni precedenti)</a:t>
            </a:r>
          </a:p>
          <a:p>
            <a:pPr algn="just"/>
            <a:endParaRPr lang="it-IT" b="0" dirty="0">
              <a:solidFill>
                <a:srgbClr val="FF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b="0" dirty="0"/>
              <a:t>L’effetto combinato di restituzione del surplus stimato sull’esercizio 2017 (€ 302 mila) e dei minori ricavi stimati nel primo bimestre 2018 (causa minore tariffa applicata rispetto a quella d’equilibrio), riduce il corrispettivo unitario d’equilibrio applicabile dal 1° marzo 2017 a </a:t>
            </a:r>
            <a:r>
              <a:rPr lang="it-IT" dirty="0"/>
              <a:t>€0,86</a:t>
            </a:r>
            <a:r>
              <a:rPr lang="it-IT" b="0" dirty="0"/>
              <a:t>/pax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b="0" dirty="0" smtClean="0">
              <a:solidFill>
                <a:srgbClr val="FF0000"/>
              </a:solidFill>
            </a:endParaRPr>
          </a:p>
        </p:txBody>
      </p:sp>
      <p:sp>
        <p:nvSpPr>
          <p:cNvPr id="6" name="CasellaDiTesto 5"/>
          <p:cNvSpPr txBox="1"/>
          <p:nvPr/>
        </p:nvSpPr>
        <p:spPr>
          <a:xfrm flipH="1" flipV="1">
            <a:off x="1520346" y="3785910"/>
            <a:ext cx="162150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endParaRPr lang="it-IT" sz="1100" b="0" dirty="0"/>
          </a:p>
        </p:txBody>
      </p:sp>
      <p:sp>
        <p:nvSpPr>
          <p:cNvPr id="10" name="CasellaDiTesto 7"/>
          <p:cNvSpPr txBox="1">
            <a:spLocks noChangeArrowheads="1"/>
          </p:cNvSpPr>
          <p:nvPr/>
        </p:nvSpPr>
        <p:spPr bwMode="auto">
          <a:xfrm>
            <a:off x="135806" y="5859754"/>
            <a:ext cx="585975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</a:pPr>
            <a:r>
              <a:rPr lang="it-IT" altLang="it-IT" sz="800" u="none" dirty="0"/>
              <a:t>Come indicato in allegato 9 (pp. 16 e 28) i corrispettivi del servizio PRM per gli scali di Fiumicino e Ciampino sono quantificati annualmente in base ai costi ammessi ed al volume di passeggeri stimati per l'anno di riferimento della tariffa ed, altresì, dell'eventuale saldo positivo/negativo da verifica dei valori a consuntivo (ricavi regolati meno costi ammessi, dati i valori di traffico consuntivato per l'anno precedente). Tale modalità di aggiornamento tariffario è in linea con il disposto dell'art. 8 del Regolamento CE 1107/2006. </a:t>
            </a:r>
          </a:p>
        </p:txBody>
      </p:sp>
      <p:pic>
        <p:nvPicPr>
          <p:cNvPr id="8591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1084359"/>
            <a:ext cx="5299896" cy="4710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54898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3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d/%m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7&quot;&gt;&lt;elem m_fUsage=&quot;5.31872788231533370000E+000&quot;&gt;&lt;m_ppcolschidx val=&quot;0&quot;/&gt;&lt;m_rgb r=&quot;ff&quot; g=&quot;96&quot; b=&quot;c&quot;/&gt;&lt;m_nBrightness val=&quot;0&quot;/&gt;&lt;/elem&gt;&lt;elem m_fUsage=&quot;2.18570633763525590000E+000&quot;&gt;&lt;m_ppcolschidx val=&quot;0&quot;/&gt;&lt;m_rgb r=&quot;5a&quot; g=&quot;b8&quot; b=&quot;1d&quot;/&gt;&lt;m_nBrightness val=&quot;0&quot;/&gt;&lt;/elem&gt;&lt;elem m_fUsage=&quot;1.96318581855426720000E+000&quot;&gt;&lt;m_ppcolschidx val=&quot;0&quot;/&gt;&lt;m_rgb r=&quot;ff&quot; g=&quot;0&quot; b=&quot;0&quot;/&gt;&lt;m_nBrightness val=&quot;0&quot;/&gt;&lt;/elem&gt;&lt;elem m_fUsage=&quot;5.08014288382196200000E-001&quot;&gt;&lt;m_ppcolschidx val=&quot;0&quot;/&gt;&lt;m_rgb r=&quot;ed&quot; g=&quot;a8&quot; b=&quot;7&quot;/&gt;&lt;m_nBrightness val=&quot;0&quot;/&gt;&lt;/elem&gt;&lt;elem m_fUsage=&quot;1.64668271649085210000E-002&quot;&gt;&lt;m_ppcolschidx val=&quot;0&quot;/&gt;&lt;m_rgb r=&quot;2b&quot; g=&quot;c6&quot; b=&quot;ff&quot;/&gt;&lt;m_nBrightness val=&quot;0&quot;/&gt;&lt;/elem&gt;&lt;elem m_fUsage=&quot;8.59504455717143900000E-004&quot;&gt;&lt;m_ppcolschidx val=&quot;0&quot;/&gt;&lt;m_rgb r=&quot;42&quot; g=&quot;66&quot; b=&quot;73&quot;/&gt;&lt;m_nBrightness val=&quot;0&quot;/&gt;&lt;/elem&gt;&lt;elem m_fUsage=&quot;7.73554010145429500000E-004&quot;&gt;&lt;m_ppcolschidx val=&quot;0&quot;/&gt;&lt;m_rgb r=&quot;66&quot; g=&quot;99&quot; b=&quot;ff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vLmp0NTaSvheMsyBa6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4RcOaKT0iYuIE.dLTg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4qLD5lw0KGhN_UGSq9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JWDs0MvkyClE5sBxLz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Qcp_QMrUOkf00gxcmP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ZhTh.PuUaZJaXGQyqT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7zv_3tlkiXWVfd7J6Z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ldebz2HEuX0jBwhKuq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YGSOSvCEiCkoMyi0lb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xXM9TgZkmhg.6XIRqz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4RcOaKT0iYuIE.dLTg4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4K8x.Wrkui03yx6vjw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esentazione_ADR_v03">
  <a:themeElements>
    <a:clrScheme name="1_presentazione_ADR_v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esentazione_ADR_v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presentazione_ADR_v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presentazione_ADR_v03">
  <a:themeElements>
    <a:clrScheme name="1_presentazione_ADR_v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esentazione_ADR_v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presentazione_ADR_v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resentazione_ADR_v03">
  <a:themeElements>
    <a:clrScheme name="presentazione_ADR_v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_ADR_v03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69696">
            <a:alpha val="62000"/>
          </a:srgbClr>
        </a:solidFill>
        <a:ln w="158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69696">
            <a:alpha val="62000"/>
          </a:srgbClr>
        </a:solidFill>
        <a:ln w="158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presentazione_ADR_v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5_TEMPLATE 2008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TEMPLATE 2008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TEMPLATE 2008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TEMPLATE 2008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_pres_1_10-2002</Template>
  <TotalTime>44886</TotalTime>
  <Words>633</Words>
  <Application>Microsoft Office PowerPoint</Application>
  <PresentationFormat>A4 (21x29,7 cm)</PresentationFormat>
  <Paragraphs>75</Paragraphs>
  <Slides>8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7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8</vt:i4>
      </vt:variant>
    </vt:vector>
  </HeadingPairs>
  <TitlesOfParts>
    <vt:vector size="17" baseType="lpstr">
      <vt:lpstr>1_presentazione_ADR_v03</vt:lpstr>
      <vt:lpstr>2_presentazione_ADR_v03</vt:lpstr>
      <vt:lpstr>presentazione_ADR_v03</vt:lpstr>
      <vt:lpstr>15_TEMPLATE 2008</vt:lpstr>
      <vt:lpstr>3_TEMPLATE 2008</vt:lpstr>
      <vt:lpstr>4_TEMPLATE 2008</vt:lpstr>
      <vt:lpstr>TEMPLATE 2008</vt:lpstr>
      <vt:lpstr>think-cell Slide</vt:lpstr>
      <vt:lpstr>Diapositiva think-cell</vt:lpstr>
      <vt:lpstr>Presentazione standard di PowerPoint</vt:lpstr>
      <vt:lpstr>Consuntivazione 2017  </vt:lpstr>
      <vt:lpstr> Assistenze PRM e volumi di traffico a FCO  2012-2017</vt:lpstr>
      <vt:lpstr>Assistenze PRM FCO settembre 2017 vs settembre 2016</vt:lpstr>
      <vt:lpstr>Qualità erogata FCO –  Carta dei Servizi (*) YTD settembre 2017</vt:lpstr>
      <vt:lpstr>Qualità percepita FCO – Carta dei Servizi YTD settembre 2017</vt:lpstr>
      <vt:lpstr>Presentazione standard di PowerPoint</vt:lpstr>
      <vt:lpstr>Costi ammissibili a tariffa di Fiumicino </vt:lpstr>
    </vt:vector>
  </TitlesOfParts>
  <Company>Roland Berger Strategy Consultant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Giovanni Cavallaro</dc:creator>
  <cp:lastModifiedBy>Gravagno Marco</cp:lastModifiedBy>
  <cp:revision>3825</cp:revision>
  <cp:lastPrinted>2015-10-19T10:39:50Z</cp:lastPrinted>
  <dcterms:created xsi:type="dcterms:W3CDTF">2008-06-20T14:11:29Z</dcterms:created>
  <dcterms:modified xsi:type="dcterms:W3CDTF">2017-10-17T08:01:16Z</dcterms:modified>
</cp:coreProperties>
</file>